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notesSlides/notesSlide3.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4.xml" ContentType="application/vnd.openxmlformats-officedocument.presentationml.notesSlide+xml"/>
  <Override PartName="/ppt/slideLayouts/slideLayout183.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7.xml" ContentType="application/vnd.openxmlformats-officedocument.presentationml.slideLayout+xml"/>
  <Override PartName="/ppt/slideLayouts/slideLayout86.xml" ContentType="application/vnd.openxmlformats-officedocument.presentationml.slideLayout+xml"/>
  <Override PartName="/ppt/slideLayouts/slideLayout89.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48.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45.xml" ContentType="application/vnd.openxmlformats-officedocument.presentationml.slideLayout+xml"/>
  <Override PartName="/ppt/slideLayouts/slideLayout88.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4.xml" ContentType="application/vnd.openxmlformats-officedocument.presentationml.slideLayout+xml"/>
  <Override PartName="/ppt/slideLayouts/slideLayout173.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7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3.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34.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112.xml" ContentType="application/vnd.openxmlformats-officedocument.presentationml.slideLayout+xml"/>
  <Override PartName="/ppt/slideLayouts/slideLayout111.xml" ContentType="application/vnd.openxmlformats-officedocument.presentationml.slideLayout+xml"/>
  <Override PartName="/ppt/slideLayouts/slideLayout114.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13.xml" ContentType="application/vnd.openxmlformats-officedocument.presentationml.slideLayout+xml"/>
  <Override PartName="/ppt/slideLayouts/slideLayout123.xml" ContentType="application/vnd.openxmlformats-officedocument.presentationml.slideLayout+xml"/>
  <Override PartName="/ppt/slideLayouts/slideLayout121.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22.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1.xml" ContentType="application/vnd.openxmlformats-officedocument.presentationml.tags+xml"/>
  <Override PartName="/ppt/tags/tag122.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7.xml" ContentType="application/vnd.openxmlformats-officedocument.presentationml.tags+xml"/>
  <Override PartName="/ppt/tags/tag105.xml" ContentType="application/vnd.openxmlformats-officedocument.presentationml.tags+xml"/>
  <Override PartName="/ppt/tags/tag114.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7.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93.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8.xml" ContentType="application/vnd.openxmlformats-officedocument.presentationml.tags+xml"/>
  <Override PartName="/ppt/tags/tag82.xml" ContentType="application/vnd.openxmlformats-officedocument.presentationml.tags+xml"/>
  <Override PartName="/ppt/tags/tag91.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9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59.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55.xml" ContentType="application/vnd.openxmlformats-officedocument.presentationml.tags+xml"/>
  <Override PartName="/ppt/tags/tag254.xml" ContentType="application/vnd.openxmlformats-officedocument.presentationml.tags+xml"/>
  <Override PartName="/ppt/tags/tag253.xml" ContentType="application/vnd.openxmlformats-officedocument.presentationml.tags+xml"/>
  <Override PartName="/ppt/tags/tag246.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84.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80.xml" ContentType="application/vnd.openxmlformats-officedocument.presentationml.tags+xml"/>
  <Override PartName="/ppt/tags/tag279.xml" ContentType="application/vnd.openxmlformats-officedocument.presentationml.tags+xml"/>
  <Override PartName="/ppt/tags/tag27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42.xml" ContentType="application/vnd.openxmlformats-officedocument.presentationml.tags+xml"/>
  <Override PartName="/ppt/tags/tag241.xml" ContentType="application/vnd.openxmlformats-officedocument.presentationml.tags+xml"/>
  <Override PartName="/ppt/tags/tag240.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195.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29.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361.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57.xml" ContentType="application/vnd.openxmlformats-officedocument.presentationml.tags+xml"/>
  <Override PartName="/ppt/tags/tag356.xml" ContentType="application/vnd.openxmlformats-officedocument.presentationml.tags+xml"/>
  <Override PartName="/ppt/tags/tag355.xml" ContentType="application/vnd.openxmlformats-officedocument.presentationml.tags+xml"/>
  <Override PartName="/ppt/tags/tag348.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86.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7.xml" ContentType="application/vnd.openxmlformats-officedocument.presentationml.tags+xml"/>
  <Override PartName="/ppt/tags/tag382.xml" ContentType="application/vnd.openxmlformats-officedocument.presentationml.tags+xml"/>
  <Override PartName="/ppt/tags/tag381.xml" ContentType="application/vnd.openxmlformats-officedocument.presentationml.tags+xml"/>
  <Override PartName="/ppt/tags/tag38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44.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310.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06.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35.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31.xml" ContentType="application/vnd.openxmlformats-officedocument.presentationml.tags+xml"/>
  <Override PartName="/ppt/tags/tag330.xml" ContentType="application/vnd.openxmlformats-officedocument.presentationml.tags+xml"/>
  <Override PartName="/ppt/tags/tag32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18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4"/>
  </p:notesMasterIdLst>
  <p:sldIdLst>
    <p:sldId id="413" r:id="rId4"/>
    <p:sldId id="414" r:id="rId5"/>
    <p:sldId id="422" r:id="rId6"/>
    <p:sldId id="416" r:id="rId7"/>
    <p:sldId id="423" r:id="rId8"/>
    <p:sldId id="424" r:id="rId9"/>
    <p:sldId id="412" r:id="rId10"/>
    <p:sldId id="302" r:id="rId11"/>
    <p:sldId id="419" r:id="rId12"/>
    <p:sldId id="418" r:id="rId13"/>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065" autoAdjust="0"/>
    <p:restoredTop sz="94632" autoAdjust="0"/>
  </p:normalViewPr>
  <p:slideViewPr>
    <p:cSldViewPr snapToGrid="0" snapToObjects="1">
      <p:cViewPr varScale="1">
        <p:scale>
          <a:sx n="93" d="100"/>
          <a:sy n="93" d="100"/>
        </p:scale>
        <p:origin x="-354" y="-90"/>
      </p:cViewPr>
      <p:guideLst>
        <p:guide orient="horz" pos="4256"/>
        <p:guide orient="horz" pos="251"/>
        <p:guide orient="horz" pos="1157"/>
        <p:guide orient="horz" pos="4057"/>
        <p:guide orient="horz" pos="3514"/>
        <p:guide orient="horz" pos="445"/>
        <p:guide orient="horz" pos="4142"/>
        <p:guide orient="horz" pos="3412"/>
        <p:guide orient="horz" pos="1699"/>
        <p:guide pos="232"/>
        <p:guide pos="2985"/>
        <p:guide pos="1622"/>
        <p:guide pos="1292"/>
        <p:guide pos="439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customXml" Target="../customXml/item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customXml" Target="../customXml/item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c:formatCode>
                <c:ptCount val="1246"/>
                <c:pt idx="0">
                  <c:v>40116</c:v>
                </c:pt>
                <c:pt idx="1">
                  <c:v>40119</c:v>
                </c:pt>
                <c:pt idx="2">
                  <c:v>40120</c:v>
                </c:pt>
                <c:pt idx="3">
                  <c:v>40121</c:v>
                </c:pt>
                <c:pt idx="4">
                  <c:v>40122</c:v>
                </c:pt>
                <c:pt idx="5">
                  <c:v>40123</c:v>
                </c:pt>
                <c:pt idx="6">
                  <c:v>40126</c:v>
                </c:pt>
                <c:pt idx="7">
                  <c:v>40127</c:v>
                </c:pt>
                <c:pt idx="8">
                  <c:v>40128</c:v>
                </c:pt>
                <c:pt idx="9">
                  <c:v>40129</c:v>
                </c:pt>
                <c:pt idx="10">
                  <c:v>40130</c:v>
                </c:pt>
                <c:pt idx="11">
                  <c:v>40133</c:v>
                </c:pt>
                <c:pt idx="12">
                  <c:v>40134</c:v>
                </c:pt>
                <c:pt idx="13">
                  <c:v>40135</c:v>
                </c:pt>
                <c:pt idx="14">
                  <c:v>40136</c:v>
                </c:pt>
                <c:pt idx="15">
                  <c:v>40137</c:v>
                </c:pt>
                <c:pt idx="16">
                  <c:v>40140</c:v>
                </c:pt>
                <c:pt idx="17">
                  <c:v>40141</c:v>
                </c:pt>
                <c:pt idx="18">
                  <c:v>40142</c:v>
                </c:pt>
                <c:pt idx="19">
                  <c:v>40143</c:v>
                </c:pt>
                <c:pt idx="20">
                  <c:v>40144</c:v>
                </c:pt>
                <c:pt idx="21">
                  <c:v>40147</c:v>
                </c:pt>
                <c:pt idx="22">
                  <c:v>40148</c:v>
                </c:pt>
                <c:pt idx="23">
                  <c:v>40149</c:v>
                </c:pt>
                <c:pt idx="24">
                  <c:v>40150</c:v>
                </c:pt>
                <c:pt idx="25">
                  <c:v>40151</c:v>
                </c:pt>
                <c:pt idx="26">
                  <c:v>40154</c:v>
                </c:pt>
                <c:pt idx="27">
                  <c:v>40155</c:v>
                </c:pt>
                <c:pt idx="28">
                  <c:v>40156</c:v>
                </c:pt>
                <c:pt idx="29">
                  <c:v>40157</c:v>
                </c:pt>
                <c:pt idx="30">
                  <c:v>40158</c:v>
                </c:pt>
                <c:pt idx="31">
                  <c:v>40161</c:v>
                </c:pt>
                <c:pt idx="32">
                  <c:v>40162</c:v>
                </c:pt>
                <c:pt idx="33">
                  <c:v>40163</c:v>
                </c:pt>
                <c:pt idx="34">
                  <c:v>40164</c:v>
                </c:pt>
                <c:pt idx="35">
                  <c:v>40165</c:v>
                </c:pt>
                <c:pt idx="36">
                  <c:v>40168</c:v>
                </c:pt>
                <c:pt idx="37">
                  <c:v>40169</c:v>
                </c:pt>
                <c:pt idx="38">
                  <c:v>40170</c:v>
                </c:pt>
                <c:pt idx="39">
                  <c:v>40171</c:v>
                </c:pt>
                <c:pt idx="40">
                  <c:v>40175</c:v>
                </c:pt>
                <c:pt idx="41">
                  <c:v>40176</c:v>
                </c:pt>
                <c:pt idx="42">
                  <c:v>40177</c:v>
                </c:pt>
                <c:pt idx="43">
                  <c:v>40178</c:v>
                </c:pt>
                <c:pt idx="44">
                  <c:v>40182</c:v>
                </c:pt>
                <c:pt idx="45">
                  <c:v>40183</c:v>
                </c:pt>
                <c:pt idx="46">
                  <c:v>40184</c:v>
                </c:pt>
                <c:pt idx="47">
                  <c:v>40185</c:v>
                </c:pt>
                <c:pt idx="48">
                  <c:v>40186</c:v>
                </c:pt>
                <c:pt idx="49">
                  <c:v>40189</c:v>
                </c:pt>
                <c:pt idx="50">
                  <c:v>40190</c:v>
                </c:pt>
                <c:pt idx="51">
                  <c:v>40191</c:v>
                </c:pt>
                <c:pt idx="52">
                  <c:v>40192</c:v>
                </c:pt>
                <c:pt idx="53">
                  <c:v>40193</c:v>
                </c:pt>
                <c:pt idx="54">
                  <c:v>40196</c:v>
                </c:pt>
                <c:pt idx="55">
                  <c:v>40197</c:v>
                </c:pt>
                <c:pt idx="56">
                  <c:v>40198</c:v>
                </c:pt>
                <c:pt idx="57">
                  <c:v>40199</c:v>
                </c:pt>
                <c:pt idx="58">
                  <c:v>40200</c:v>
                </c:pt>
                <c:pt idx="59">
                  <c:v>40203</c:v>
                </c:pt>
                <c:pt idx="60">
                  <c:v>40204</c:v>
                </c:pt>
                <c:pt idx="61">
                  <c:v>40205</c:v>
                </c:pt>
                <c:pt idx="62">
                  <c:v>40206</c:v>
                </c:pt>
                <c:pt idx="63">
                  <c:v>40207</c:v>
                </c:pt>
                <c:pt idx="64">
                  <c:v>40210</c:v>
                </c:pt>
                <c:pt idx="65">
                  <c:v>40211</c:v>
                </c:pt>
                <c:pt idx="66">
                  <c:v>40212</c:v>
                </c:pt>
                <c:pt idx="67">
                  <c:v>40213</c:v>
                </c:pt>
                <c:pt idx="68">
                  <c:v>40214</c:v>
                </c:pt>
                <c:pt idx="69">
                  <c:v>40217</c:v>
                </c:pt>
                <c:pt idx="70">
                  <c:v>40218</c:v>
                </c:pt>
                <c:pt idx="71">
                  <c:v>40219</c:v>
                </c:pt>
                <c:pt idx="72">
                  <c:v>40220</c:v>
                </c:pt>
                <c:pt idx="73">
                  <c:v>40221</c:v>
                </c:pt>
                <c:pt idx="74">
                  <c:v>40224</c:v>
                </c:pt>
                <c:pt idx="75">
                  <c:v>40225</c:v>
                </c:pt>
                <c:pt idx="76">
                  <c:v>40226</c:v>
                </c:pt>
                <c:pt idx="77">
                  <c:v>40227</c:v>
                </c:pt>
                <c:pt idx="78">
                  <c:v>40228</c:v>
                </c:pt>
                <c:pt idx="79">
                  <c:v>40231</c:v>
                </c:pt>
                <c:pt idx="80">
                  <c:v>40232</c:v>
                </c:pt>
                <c:pt idx="81">
                  <c:v>40233</c:v>
                </c:pt>
                <c:pt idx="82">
                  <c:v>40234</c:v>
                </c:pt>
                <c:pt idx="83">
                  <c:v>40235</c:v>
                </c:pt>
                <c:pt idx="84">
                  <c:v>40238</c:v>
                </c:pt>
                <c:pt idx="85">
                  <c:v>40239</c:v>
                </c:pt>
                <c:pt idx="86">
                  <c:v>40240</c:v>
                </c:pt>
                <c:pt idx="87">
                  <c:v>40241</c:v>
                </c:pt>
                <c:pt idx="88">
                  <c:v>40242</c:v>
                </c:pt>
                <c:pt idx="89">
                  <c:v>40245</c:v>
                </c:pt>
                <c:pt idx="90">
                  <c:v>40246</c:v>
                </c:pt>
                <c:pt idx="91">
                  <c:v>40247</c:v>
                </c:pt>
                <c:pt idx="92">
                  <c:v>40248</c:v>
                </c:pt>
                <c:pt idx="93">
                  <c:v>40249</c:v>
                </c:pt>
                <c:pt idx="94">
                  <c:v>40252</c:v>
                </c:pt>
                <c:pt idx="95">
                  <c:v>40253</c:v>
                </c:pt>
                <c:pt idx="96">
                  <c:v>40254</c:v>
                </c:pt>
                <c:pt idx="97">
                  <c:v>40255</c:v>
                </c:pt>
                <c:pt idx="98">
                  <c:v>40256</c:v>
                </c:pt>
                <c:pt idx="99">
                  <c:v>40259</c:v>
                </c:pt>
                <c:pt idx="100">
                  <c:v>40260</c:v>
                </c:pt>
                <c:pt idx="101">
                  <c:v>40261</c:v>
                </c:pt>
                <c:pt idx="102">
                  <c:v>40262</c:v>
                </c:pt>
                <c:pt idx="103">
                  <c:v>40263</c:v>
                </c:pt>
                <c:pt idx="104">
                  <c:v>40266</c:v>
                </c:pt>
                <c:pt idx="105">
                  <c:v>40267</c:v>
                </c:pt>
                <c:pt idx="106">
                  <c:v>40268</c:v>
                </c:pt>
                <c:pt idx="107">
                  <c:v>40269</c:v>
                </c:pt>
                <c:pt idx="108">
                  <c:v>40274</c:v>
                </c:pt>
                <c:pt idx="109">
                  <c:v>40275</c:v>
                </c:pt>
                <c:pt idx="110">
                  <c:v>40276</c:v>
                </c:pt>
                <c:pt idx="111">
                  <c:v>40277</c:v>
                </c:pt>
                <c:pt idx="112">
                  <c:v>40280</c:v>
                </c:pt>
                <c:pt idx="113">
                  <c:v>40281</c:v>
                </c:pt>
                <c:pt idx="114">
                  <c:v>40282</c:v>
                </c:pt>
                <c:pt idx="115">
                  <c:v>40283</c:v>
                </c:pt>
                <c:pt idx="116">
                  <c:v>40284</c:v>
                </c:pt>
                <c:pt idx="117">
                  <c:v>40287</c:v>
                </c:pt>
                <c:pt idx="118">
                  <c:v>40288</c:v>
                </c:pt>
                <c:pt idx="119">
                  <c:v>40289</c:v>
                </c:pt>
                <c:pt idx="120">
                  <c:v>40290</c:v>
                </c:pt>
                <c:pt idx="121">
                  <c:v>40291</c:v>
                </c:pt>
                <c:pt idx="122">
                  <c:v>40294</c:v>
                </c:pt>
                <c:pt idx="123">
                  <c:v>40295</c:v>
                </c:pt>
                <c:pt idx="124">
                  <c:v>40296</c:v>
                </c:pt>
                <c:pt idx="125">
                  <c:v>40297</c:v>
                </c:pt>
                <c:pt idx="126">
                  <c:v>40298</c:v>
                </c:pt>
                <c:pt idx="127">
                  <c:v>40301</c:v>
                </c:pt>
                <c:pt idx="128">
                  <c:v>40302</c:v>
                </c:pt>
                <c:pt idx="129">
                  <c:v>40303</c:v>
                </c:pt>
                <c:pt idx="130">
                  <c:v>40304</c:v>
                </c:pt>
                <c:pt idx="131">
                  <c:v>40305</c:v>
                </c:pt>
                <c:pt idx="132">
                  <c:v>40308</c:v>
                </c:pt>
                <c:pt idx="133">
                  <c:v>40309</c:v>
                </c:pt>
                <c:pt idx="134">
                  <c:v>40310</c:v>
                </c:pt>
                <c:pt idx="135">
                  <c:v>40311</c:v>
                </c:pt>
                <c:pt idx="136">
                  <c:v>40312</c:v>
                </c:pt>
                <c:pt idx="137">
                  <c:v>40315</c:v>
                </c:pt>
                <c:pt idx="138">
                  <c:v>40316</c:v>
                </c:pt>
                <c:pt idx="139">
                  <c:v>40317</c:v>
                </c:pt>
                <c:pt idx="140">
                  <c:v>40318</c:v>
                </c:pt>
                <c:pt idx="141">
                  <c:v>40319</c:v>
                </c:pt>
                <c:pt idx="142">
                  <c:v>40322</c:v>
                </c:pt>
                <c:pt idx="143">
                  <c:v>40323</c:v>
                </c:pt>
                <c:pt idx="144">
                  <c:v>40324</c:v>
                </c:pt>
                <c:pt idx="145">
                  <c:v>40325</c:v>
                </c:pt>
                <c:pt idx="146">
                  <c:v>40326</c:v>
                </c:pt>
                <c:pt idx="147">
                  <c:v>40329</c:v>
                </c:pt>
                <c:pt idx="148">
                  <c:v>40330</c:v>
                </c:pt>
                <c:pt idx="149">
                  <c:v>40331</c:v>
                </c:pt>
                <c:pt idx="150">
                  <c:v>40332</c:v>
                </c:pt>
                <c:pt idx="151">
                  <c:v>40333</c:v>
                </c:pt>
                <c:pt idx="152">
                  <c:v>40336</c:v>
                </c:pt>
                <c:pt idx="153">
                  <c:v>40337</c:v>
                </c:pt>
                <c:pt idx="154">
                  <c:v>40338</c:v>
                </c:pt>
                <c:pt idx="155">
                  <c:v>40339</c:v>
                </c:pt>
                <c:pt idx="156">
                  <c:v>40340</c:v>
                </c:pt>
                <c:pt idx="157">
                  <c:v>40343</c:v>
                </c:pt>
                <c:pt idx="158">
                  <c:v>40344</c:v>
                </c:pt>
                <c:pt idx="159">
                  <c:v>40345</c:v>
                </c:pt>
                <c:pt idx="160">
                  <c:v>40346</c:v>
                </c:pt>
                <c:pt idx="161">
                  <c:v>40347</c:v>
                </c:pt>
                <c:pt idx="162">
                  <c:v>40350</c:v>
                </c:pt>
                <c:pt idx="163">
                  <c:v>40351</c:v>
                </c:pt>
                <c:pt idx="164">
                  <c:v>40352</c:v>
                </c:pt>
                <c:pt idx="165">
                  <c:v>40353</c:v>
                </c:pt>
                <c:pt idx="166">
                  <c:v>40354</c:v>
                </c:pt>
                <c:pt idx="167">
                  <c:v>40357</c:v>
                </c:pt>
                <c:pt idx="168">
                  <c:v>40358</c:v>
                </c:pt>
                <c:pt idx="169">
                  <c:v>40359</c:v>
                </c:pt>
                <c:pt idx="170">
                  <c:v>40360</c:v>
                </c:pt>
                <c:pt idx="171">
                  <c:v>40361</c:v>
                </c:pt>
                <c:pt idx="172">
                  <c:v>40364</c:v>
                </c:pt>
                <c:pt idx="173">
                  <c:v>40365</c:v>
                </c:pt>
                <c:pt idx="174">
                  <c:v>40366</c:v>
                </c:pt>
                <c:pt idx="175">
                  <c:v>40367</c:v>
                </c:pt>
                <c:pt idx="176">
                  <c:v>40368</c:v>
                </c:pt>
                <c:pt idx="177">
                  <c:v>40371</c:v>
                </c:pt>
                <c:pt idx="178">
                  <c:v>40372</c:v>
                </c:pt>
                <c:pt idx="179">
                  <c:v>40373</c:v>
                </c:pt>
                <c:pt idx="180">
                  <c:v>40374</c:v>
                </c:pt>
                <c:pt idx="181">
                  <c:v>40375</c:v>
                </c:pt>
                <c:pt idx="182">
                  <c:v>40378</c:v>
                </c:pt>
                <c:pt idx="183">
                  <c:v>40379</c:v>
                </c:pt>
                <c:pt idx="184">
                  <c:v>40380</c:v>
                </c:pt>
                <c:pt idx="185">
                  <c:v>40381</c:v>
                </c:pt>
                <c:pt idx="186">
                  <c:v>40382</c:v>
                </c:pt>
                <c:pt idx="187">
                  <c:v>40385</c:v>
                </c:pt>
                <c:pt idx="188">
                  <c:v>40386</c:v>
                </c:pt>
                <c:pt idx="189">
                  <c:v>40387</c:v>
                </c:pt>
                <c:pt idx="190">
                  <c:v>40388</c:v>
                </c:pt>
                <c:pt idx="191">
                  <c:v>40389</c:v>
                </c:pt>
                <c:pt idx="192">
                  <c:v>40392</c:v>
                </c:pt>
                <c:pt idx="193">
                  <c:v>40393</c:v>
                </c:pt>
                <c:pt idx="194">
                  <c:v>40394</c:v>
                </c:pt>
                <c:pt idx="195">
                  <c:v>40395</c:v>
                </c:pt>
                <c:pt idx="196">
                  <c:v>40396</c:v>
                </c:pt>
                <c:pt idx="197">
                  <c:v>40399</c:v>
                </c:pt>
                <c:pt idx="198">
                  <c:v>40400</c:v>
                </c:pt>
                <c:pt idx="199">
                  <c:v>40401</c:v>
                </c:pt>
                <c:pt idx="200">
                  <c:v>40402</c:v>
                </c:pt>
                <c:pt idx="201">
                  <c:v>40403</c:v>
                </c:pt>
                <c:pt idx="202">
                  <c:v>40406</c:v>
                </c:pt>
                <c:pt idx="203">
                  <c:v>40407</c:v>
                </c:pt>
                <c:pt idx="204">
                  <c:v>40408</c:v>
                </c:pt>
                <c:pt idx="205">
                  <c:v>40409</c:v>
                </c:pt>
                <c:pt idx="206">
                  <c:v>40410</c:v>
                </c:pt>
                <c:pt idx="207">
                  <c:v>40413</c:v>
                </c:pt>
                <c:pt idx="208">
                  <c:v>40414</c:v>
                </c:pt>
                <c:pt idx="209">
                  <c:v>40415</c:v>
                </c:pt>
                <c:pt idx="210">
                  <c:v>40416</c:v>
                </c:pt>
                <c:pt idx="211">
                  <c:v>40417</c:v>
                </c:pt>
                <c:pt idx="212">
                  <c:v>40420</c:v>
                </c:pt>
                <c:pt idx="213">
                  <c:v>40421</c:v>
                </c:pt>
                <c:pt idx="214">
                  <c:v>40422</c:v>
                </c:pt>
                <c:pt idx="215">
                  <c:v>40423</c:v>
                </c:pt>
                <c:pt idx="216">
                  <c:v>40424</c:v>
                </c:pt>
                <c:pt idx="217">
                  <c:v>40427</c:v>
                </c:pt>
                <c:pt idx="218">
                  <c:v>40428</c:v>
                </c:pt>
                <c:pt idx="219">
                  <c:v>40429</c:v>
                </c:pt>
                <c:pt idx="220">
                  <c:v>40430</c:v>
                </c:pt>
                <c:pt idx="221">
                  <c:v>40431</c:v>
                </c:pt>
                <c:pt idx="222">
                  <c:v>40434</c:v>
                </c:pt>
                <c:pt idx="223">
                  <c:v>40435</c:v>
                </c:pt>
                <c:pt idx="224">
                  <c:v>40436</c:v>
                </c:pt>
                <c:pt idx="225">
                  <c:v>40437</c:v>
                </c:pt>
                <c:pt idx="226">
                  <c:v>40438</c:v>
                </c:pt>
                <c:pt idx="227">
                  <c:v>40441</c:v>
                </c:pt>
                <c:pt idx="228">
                  <c:v>40442</c:v>
                </c:pt>
                <c:pt idx="229">
                  <c:v>40443</c:v>
                </c:pt>
                <c:pt idx="230">
                  <c:v>40444</c:v>
                </c:pt>
                <c:pt idx="231">
                  <c:v>40445</c:v>
                </c:pt>
                <c:pt idx="232">
                  <c:v>40448</c:v>
                </c:pt>
                <c:pt idx="233">
                  <c:v>40449</c:v>
                </c:pt>
                <c:pt idx="234">
                  <c:v>40450</c:v>
                </c:pt>
                <c:pt idx="235">
                  <c:v>40451</c:v>
                </c:pt>
                <c:pt idx="236">
                  <c:v>40452</c:v>
                </c:pt>
                <c:pt idx="237">
                  <c:v>40455</c:v>
                </c:pt>
                <c:pt idx="238">
                  <c:v>40456</c:v>
                </c:pt>
                <c:pt idx="239">
                  <c:v>40457</c:v>
                </c:pt>
                <c:pt idx="240">
                  <c:v>40458</c:v>
                </c:pt>
                <c:pt idx="241">
                  <c:v>40459</c:v>
                </c:pt>
                <c:pt idx="242">
                  <c:v>40462</c:v>
                </c:pt>
                <c:pt idx="243">
                  <c:v>40463</c:v>
                </c:pt>
                <c:pt idx="244">
                  <c:v>40464</c:v>
                </c:pt>
                <c:pt idx="245">
                  <c:v>40465</c:v>
                </c:pt>
                <c:pt idx="246">
                  <c:v>40466</c:v>
                </c:pt>
                <c:pt idx="247">
                  <c:v>40469</c:v>
                </c:pt>
                <c:pt idx="248">
                  <c:v>40470</c:v>
                </c:pt>
                <c:pt idx="249">
                  <c:v>40471</c:v>
                </c:pt>
                <c:pt idx="250">
                  <c:v>40472</c:v>
                </c:pt>
                <c:pt idx="251">
                  <c:v>40473</c:v>
                </c:pt>
                <c:pt idx="252">
                  <c:v>40476</c:v>
                </c:pt>
                <c:pt idx="253">
                  <c:v>40477</c:v>
                </c:pt>
                <c:pt idx="254">
                  <c:v>40478</c:v>
                </c:pt>
                <c:pt idx="255">
                  <c:v>40479</c:v>
                </c:pt>
                <c:pt idx="256">
                  <c:v>40480</c:v>
                </c:pt>
                <c:pt idx="257">
                  <c:v>40483</c:v>
                </c:pt>
                <c:pt idx="258">
                  <c:v>40484</c:v>
                </c:pt>
                <c:pt idx="259">
                  <c:v>40485</c:v>
                </c:pt>
                <c:pt idx="260">
                  <c:v>40486</c:v>
                </c:pt>
                <c:pt idx="261">
                  <c:v>40487</c:v>
                </c:pt>
                <c:pt idx="262">
                  <c:v>40490</c:v>
                </c:pt>
                <c:pt idx="263">
                  <c:v>40491</c:v>
                </c:pt>
                <c:pt idx="264">
                  <c:v>40492</c:v>
                </c:pt>
                <c:pt idx="265">
                  <c:v>40493</c:v>
                </c:pt>
                <c:pt idx="266">
                  <c:v>40494</c:v>
                </c:pt>
                <c:pt idx="267">
                  <c:v>40497</c:v>
                </c:pt>
                <c:pt idx="268">
                  <c:v>40498</c:v>
                </c:pt>
                <c:pt idx="269">
                  <c:v>40499</c:v>
                </c:pt>
                <c:pt idx="270">
                  <c:v>40500</c:v>
                </c:pt>
                <c:pt idx="271">
                  <c:v>40501</c:v>
                </c:pt>
                <c:pt idx="272">
                  <c:v>40504</c:v>
                </c:pt>
                <c:pt idx="273">
                  <c:v>40505</c:v>
                </c:pt>
                <c:pt idx="274">
                  <c:v>40506</c:v>
                </c:pt>
                <c:pt idx="275">
                  <c:v>40507</c:v>
                </c:pt>
                <c:pt idx="276">
                  <c:v>40508</c:v>
                </c:pt>
                <c:pt idx="277">
                  <c:v>40511</c:v>
                </c:pt>
                <c:pt idx="278">
                  <c:v>40512</c:v>
                </c:pt>
                <c:pt idx="279">
                  <c:v>40513</c:v>
                </c:pt>
                <c:pt idx="280">
                  <c:v>40514</c:v>
                </c:pt>
                <c:pt idx="281">
                  <c:v>40515</c:v>
                </c:pt>
                <c:pt idx="282">
                  <c:v>40518</c:v>
                </c:pt>
                <c:pt idx="283">
                  <c:v>40519</c:v>
                </c:pt>
                <c:pt idx="284">
                  <c:v>40520</c:v>
                </c:pt>
                <c:pt idx="285">
                  <c:v>40521</c:v>
                </c:pt>
                <c:pt idx="286">
                  <c:v>40522</c:v>
                </c:pt>
                <c:pt idx="287">
                  <c:v>40525</c:v>
                </c:pt>
                <c:pt idx="288">
                  <c:v>40526</c:v>
                </c:pt>
                <c:pt idx="289">
                  <c:v>40527</c:v>
                </c:pt>
                <c:pt idx="290">
                  <c:v>40528</c:v>
                </c:pt>
                <c:pt idx="291">
                  <c:v>40529</c:v>
                </c:pt>
                <c:pt idx="292">
                  <c:v>40532</c:v>
                </c:pt>
                <c:pt idx="293">
                  <c:v>40533</c:v>
                </c:pt>
                <c:pt idx="294">
                  <c:v>40534</c:v>
                </c:pt>
                <c:pt idx="295">
                  <c:v>40535</c:v>
                </c:pt>
                <c:pt idx="296">
                  <c:v>40536</c:v>
                </c:pt>
                <c:pt idx="297">
                  <c:v>40539</c:v>
                </c:pt>
                <c:pt idx="298">
                  <c:v>40540</c:v>
                </c:pt>
                <c:pt idx="299">
                  <c:v>40541</c:v>
                </c:pt>
                <c:pt idx="300">
                  <c:v>40542</c:v>
                </c:pt>
                <c:pt idx="301">
                  <c:v>40543</c:v>
                </c:pt>
                <c:pt idx="302">
                  <c:v>40546</c:v>
                </c:pt>
                <c:pt idx="303">
                  <c:v>40547</c:v>
                </c:pt>
                <c:pt idx="304">
                  <c:v>40548</c:v>
                </c:pt>
                <c:pt idx="305">
                  <c:v>40549</c:v>
                </c:pt>
                <c:pt idx="306">
                  <c:v>40550</c:v>
                </c:pt>
                <c:pt idx="307">
                  <c:v>40553</c:v>
                </c:pt>
                <c:pt idx="308">
                  <c:v>40554</c:v>
                </c:pt>
                <c:pt idx="309">
                  <c:v>40555</c:v>
                </c:pt>
                <c:pt idx="310">
                  <c:v>40556</c:v>
                </c:pt>
                <c:pt idx="311">
                  <c:v>40557</c:v>
                </c:pt>
                <c:pt idx="312">
                  <c:v>40560</c:v>
                </c:pt>
                <c:pt idx="313">
                  <c:v>40561</c:v>
                </c:pt>
                <c:pt idx="314">
                  <c:v>40562</c:v>
                </c:pt>
                <c:pt idx="315">
                  <c:v>40563</c:v>
                </c:pt>
                <c:pt idx="316">
                  <c:v>40564</c:v>
                </c:pt>
                <c:pt idx="317">
                  <c:v>40567</c:v>
                </c:pt>
                <c:pt idx="318">
                  <c:v>40568</c:v>
                </c:pt>
                <c:pt idx="319">
                  <c:v>40569</c:v>
                </c:pt>
                <c:pt idx="320">
                  <c:v>40570</c:v>
                </c:pt>
                <c:pt idx="321">
                  <c:v>40571</c:v>
                </c:pt>
                <c:pt idx="322">
                  <c:v>40574</c:v>
                </c:pt>
                <c:pt idx="323">
                  <c:v>40575</c:v>
                </c:pt>
                <c:pt idx="324">
                  <c:v>40576</c:v>
                </c:pt>
                <c:pt idx="325">
                  <c:v>40577</c:v>
                </c:pt>
                <c:pt idx="326">
                  <c:v>40578</c:v>
                </c:pt>
                <c:pt idx="327">
                  <c:v>40581</c:v>
                </c:pt>
                <c:pt idx="328">
                  <c:v>40582</c:v>
                </c:pt>
                <c:pt idx="329">
                  <c:v>40583</c:v>
                </c:pt>
                <c:pt idx="330">
                  <c:v>40584</c:v>
                </c:pt>
                <c:pt idx="331">
                  <c:v>40585</c:v>
                </c:pt>
                <c:pt idx="332">
                  <c:v>40588</c:v>
                </c:pt>
                <c:pt idx="333">
                  <c:v>40589</c:v>
                </c:pt>
                <c:pt idx="334">
                  <c:v>40590</c:v>
                </c:pt>
                <c:pt idx="335">
                  <c:v>40591</c:v>
                </c:pt>
                <c:pt idx="336">
                  <c:v>40592</c:v>
                </c:pt>
                <c:pt idx="337">
                  <c:v>40595</c:v>
                </c:pt>
                <c:pt idx="338">
                  <c:v>40596</c:v>
                </c:pt>
                <c:pt idx="339">
                  <c:v>40597</c:v>
                </c:pt>
                <c:pt idx="340">
                  <c:v>40598</c:v>
                </c:pt>
                <c:pt idx="341">
                  <c:v>40599</c:v>
                </c:pt>
                <c:pt idx="342">
                  <c:v>40602</c:v>
                </c:pt>
                <c:pt idx="343">
                  <c:v>40603</c:v>
                </c:pt>
                <c:pt idx="344">
                  <c:v>40604</c:v>
                </c:pt>
                <c:pt idx="345">
                  <c:v>40605</c:v>
                </c:pt>
                <c:pt idx="346">
                  <c:v>40606</c:v>
                </c:pt>
                <c:pt idx="347">
                  <c:v>40609</c:v>
                </c:pt>
                <c:pt idx="348">
                  <c:v>40610</c:v>
                </c:pt>
                <c:pt idx="349">
                  <c:v>40611</c:v>
                </c:pt>
                <c:pt idx="350">
                  <c:v>40612</c:v>
                </c:pt>
                <c:pt idx="351">
                  <c:v>40613</c:v>
                </c:pt>
                <c:pt idx="352">
                  <c:v>40616</c:v>
                </c:pt>
                <c:pt idx="353">
                  <c:v>40617</c:v>
                </c:pt>
                <c:pt idx="354">
                  <c:v>40618</c:v>
                </c:pt>
                <c:pt idx="355">
                  <c:v>40619</c:v>
                </c:pt>
                <c:pt idx="356">
                  <c:v>40620</c:v>
                </c:pt>
                <c:pt idx="357">
                  <c:v>40623</c:v>
                </c:pt>
                <c:pt idx="358">
                  <c:v>40624</c:v>
                </c:pt>
                <c:pt idx="359">
                  <c:v>40625</c:v>
                </c:pt>
                <c:pt idx="360">
                  <c:v>40626</c:v>
                </c:pt>
                <c:pt idx="361">
                  <c:v>40627</c:v>
                </c:pt>
                <c:pt idx="362">
                  <c:v>40630</c:v>
                </c:pt>
                <c:pt idx="363">
                  <c:v>40631</c:v>
                </c:pt>
                <c:pt idx="364">
                  <c:v>40632</c:v>
                </c:pt>
                <c:pt idx="365">
                  <c:v>40633</c:v>
                </c:pt>
                <c:pt idx="366">
                  <c:v>40634</c:v>
                </c:pt>
                <c:pt idx="367">
                  <c:v>40637</c:v>
                </c:pt>
                <c:pt idx="368">
                  <c:v>40638</c:v>
                </c:pt>
                <c:pt idx="369">
                  <c:v>40639</c:v>
                </c:pt>
                <c:pt idx="370">
                  <c:v>40640</c:v>
                </c:pt>
                <c:pt idx="371">
                  <c:v>40641</c:v>
                </c:pt>
                <c:pt idx="372">
                  <c:v>40644</c:v>
                </c:pt>
                <c:pt idx="373">
                  <c:v>40645</c:v>
                </c:pt>
                <c:pt idx="374">
                  <c:v>40646</c:v>
                </c:pt>
                <c:pt idx="375">
                  <c:v>40647</c:v>
                </c:pt>
                <c:pt idx="376">
                  <c:v>40648</c:v>
                </c:pt>
                <c:pt idx="377">
                  <c:v>40651</c:v>
                </c:pt>
                <c:pt idx="378">
                  <c:v>40652</c:v>
                </c:pt>
                <c:pt idx="379">
                  <c:v>40653</c:v>
                </c:pt>
                <c:pt idx="380">
                  <c:v>40654</c:v>
                </c:pt>
                <c:pt idx="381">
                  <c:v>40659</c:v>
                </c:pt>
                <c:pt idx="382">
                  <c:v>40660</c:v>
                </c:pt>
                <c:pt idx="383">
                  <c:v>40661</c:v>
                </c:pt>
                <c:pt idx="384">
                  <c:v>40662</c:v>
                </c:pt>
                <c:pt idx="385">
                  <c:v>40665</c:v>
                </c:pt>
                <c:pt idx="386">
                  <c:v>40666</c:v>
                </c:pt>
                <c:pt idx="387">
                  <c:v>40667</c:v>
                </c:pt>
                <c:pt idx="388">
                  <c:v>40668</c:v>
                </c:pt>
                <c:pt idx="389">
                  <c:v>40669</c:v>
                </c:pt>
                <c:pt idx="390">
                  <c:v>40672</c:v>
                </c:pt>
                <c:pt idx="391">
                  <c:v>40673</c:v>
                </c:pt>
                <c:pt idx="392">
                  <c:v>40674</c:v>
                </c:pt>
                <c:pt idx="393">
                  <c:v>40675</c:v>
                </c:pt>
                <c:pt idx="394">
                  <c:v>40676</c:v>
                </c:pt>
                <c:pt idx="395">
                  <c:v>40679</c:v>
                </c:pt>
                <c:pt idx="396">
                  <c:v>40680</c:v>
                </c:pt>
                <c:pt idx="397">
                  <c:v>40681</c:v>
                </c:pt>
                <c:pt idx="398">
                  <c:v>40682</c:v>
                </c:pt>
                <c:pt idx="399">
                  <c:v>40683</c:v>
                </c:pt>
                <c:pt idx="400">
                  <c:v>40686</c:v>
                </c:pt>
                <c:pt idx="401">
                  <c:v>40687</c:v>
                </c:pt>
                <c:pt idx="402">
                  <c:v>40688</c:v>
                </c:pt>
                <c:pt idx="403">
                  <c:v>40689</c:v>
                </c:pt>
                <c:pt idx="404">
                  <c:v>40690</c:v>
                </c:pt>
                <c:pt idx="405">
                  <c:v>40693</c:v>
                </c:pt>
                <c:pt idx="406">
                  <c:v>40694</c:v>
                </c:pt>
                <c:pt idx="407">
                  <c:v>40695</c:v>
                </c:pt>
                <c:pt idx="408">
                  <c:v>40696</c:v>
                </c:pt>
                <c:pt idx="409">
                  <c:v>40697</c:v>
                </c:pt>
                <c:pt idx="410">
                  <c:v>40700</c:v>
                </c:pt>
                <c:pt idx="411">
                  <c:v>40701</c:v>
                </c:pt>
                <c:pt idx="412">
                  <c:v>40702</c:v>
                </c:pt>
                <c:pt idx="413">
                  <c:v>40703</c:v>
                </c:pt>
                <c:pt idx="414">
                  <c:v>40704</c:v>
                </c:pt>
                <c:pt idx="415">
                  <c:v>40707</c:v>
                </c:pt>
                <c:pt idx="416">
                  <c:v>40708</c:v>
                </c:pt>
                <c:pt idx="417">
                  <c:v>40709</c:v>
                </c:pt>
                <c:pt idx="418">
                  <c:v>40710</c:v>
                </c:pt>
                <c:pt idx="419">
                  <c:v>40711</c:v>
                </c:pt>
                <c:pt idx="420">
                  <c:v>40714</c:v>
                </c:pt>
                <c:pt idx="421">
                  <c:v>40715</c:v>
                </c:pt>
                <c:pt idx="422">
                  <c:v>40716</c:v>
                </c:pt>
                <c:pt idx="423">
                  <c:v>40717</c:v>
                </c:pt>
                <c:pt idx="424">
                  <c:v>40718</c:v>
                </c:pt>
                <c:pt idx="425">
                  <c:v>40721</c:v>
                </c:pt>
                <c:pt idx="426">
                  <c:v>40722</c:v>
                </c:pt>
                <c:pt idx="427">
                  <c:v>40723</c:v>
                </c:pt>
                <c:pt idx="428">
                  <c:v>40724</c:v>
                </c:pt>
                <c:pt idx="429">
                  <c:v>40725</c:v>
                </c:pt>
                <c:pt idx="430">
                  <c:v>40728</c:v>
                </c:pt>
                <c:pt idx="431">
                  <c:v>40729</c:v>
                </c:pt>
                <c:pt idx="432">
                  <c:v>40730</c:v>
                </c:pt>
                <c:pt idx="433">
                  <c:v>40731</c:v>
                </c:pt>
                <c:pt idx="434">
                  <c:v>40732</c:v>
                </c:pt>
                <c:pt idx="435">
                  <c:v>40735</c:v>
                </c:pt>
                <c:pt idx="436">
                  <c:v>40736</c:v>
                </c:pt>
                <c:pt idx="437">
                  <c:v>40737</c:v>
                </c:pt>
                <c:pt idx="438">
                  <c:v>40738</c:v>
                </c:pt>
                <c:pt idx="439">
                  <c:v>40739</c:v>
                </c:pt>
                <c:pt idx="440">
                  <c:v>40742</c:v>
                </c:pt>
                <c:pt idx="441">
                  <c:v>40743</c:v>
                </c:pt>
                <c:pt idx="442">
                  <c:v>40744</c:v>
                </c:pt>
                <c:pt idx="443">
                  <c:v>40745</c:v>
                </c:pt>
                <c:pt idx="444">
                  <c:v>40746</c:v>
                </c:pt>
                <c:pt idx="445">
                  <c:v>40749</c:v>
                </c:pt>
                <c:pt idx="446">
                  <c:v>40750</c:v>
                </c:pt>
                <c:pt idx="447">
                  <c:v>40751</c:v>
                </c:pt>
                <c:pt idx="448">
                  <c:v>40752</c:v>
                </c:pt>
                <c:pt idx="449">
                  <c:v>40753</c:v>
                </c:pt>
                <c:pt idx="450">
                  <c:v>40756</c:v>
                </c:pt>
                <c:pt idx="451">
                  <c:v>40757</c:v>
                </c:pt>
                <c:pt idx="452">
                  <c:v>40758</c:v>
                </c:pt>
                <c:pt idx="453">
                  <c:v>40759</c:v>
                </c:pt>
                <c:pt idx="454">
                  <c:v>40760</c:v>
                </c:pt>
                <c:pt idx="455">
                  <c:v>40763</c:v>
                </c:pt>
                <c:pt idx="456">
                  <c:v>40764</c:v>
                </c:pt>
                <c:pt idx="457">
                  <c:v>40765</c:v>
                </c:pt>
                <c:pt idx="458">
                  <c:v>40766</c:v>
                </c:pt>
                <c:pt idx="459">
                  <c:v>40767</c:v>
                </c:pt>
                <c:pt idx="460">
                  <c:v>40770</c:v>
                </c:pt>
                <c:pt idx="461">
                  <c:v>40771</c:v>
                </c:pt>
                <c:pt idx="462">
                  <c:v>40772</c:v>
                </c:pt>
                <c:pt idx="463">
                  <c:v>40773</c:v>
                </c:pt>
                <c:pt idx="464">
                  <c:v>40774</c:v>
                </c:pt>
                <c:pt idx="465">
                  <c:v>40777</c:v>
                </c:pt>
                <c:pt idx="466">
                  <c:v>40778</c:v>
                </c:pt>
                <c:pt idx="467">
                  <c:v>40779</c:v>
                </c:pt>
                <c:pt idx="468">
                  <c:v>40780</c:v>
                </c:pt>
                <c:pt idx="469">
                  <c:v>40781</c:v>
                </c:pt>
                <c:pt idx="470">
                  <c:v>40784</c:v>
                </c:pt>
                <c:pt idx="471">
                  <c:v>40785</c:v>
                </c:pt>
                <c:pt idx="472">
                  <c:v>40786</c:v>
                </c:pt>
                <c:pt idx="473">
                  <c:v>40787</c:v>
                </c:pt>
                <c:pt idx="474">
                  <c:v>40788</c:v>
                </c:pt>
                <c:pt idx="475">
                  <c:v>40791</c:v>
                </c:pt>
                <c:pt idx="476">
                  <c:v>40792</c:v>
                </c:pt>
                <c:pt idx="477">
                  <c:v>40793</c:v>
                </c:pt>
                <c:pt idx="478">
                  <c:v>40794</c:v>
                </c:pt>
                <c:pt idx="479">
                  <c:v>40795</c:v>
                </c:pt>
                <c:pt idx="480">
                  <c:v>40798</c:v>
                </c:pt>
                <c:pt idx="481">
                  <c:v>40799</c:v>
                </c:pt>
                <c:pt idx="482">
                  <c:v>40800</c:v>
                </c:pt>
                <c:pt idx="483">
                  <c:v>40801</c:v>
                </c:pt>
                <c:pt idx="484">
                  <c:v>40802</c:v>
                </c:pt>
                <c:pt idx="485">
                  <c:v>40805</c:v>
                </c:pt>
                <c:pt idx="486">
                  <c:v>40806</c:v>
                </c:pt>
                <c:pt idx="487">
                  <c:v>40807</c:v>
                </c:pt>
                <c:pt idx="488">
                  <c:v>40808</c:v>
                </c:pt>
                <c:pt idx="489">
                  <c:v>40809</c:v>
                </c:pt>
                <c:pt idx="490">
                  <c:v>40812</c:v>
                </c:pt>
                <c:pt idx="491">
                  <c:v>40813</c:v>
                </c:pt>
                <c:pt idx="492">
                  <c:v>40814</c:v>
                </c:pt>
                <c:pt idx="493">
                  <c:v>40815</c:v>
                </c:pt>
                <c:pt idx="494">
                  <c:v>40816</c:v>
                </c:pt>
                <c:pt idx="495">
                  <c:v>40819</c:v>
                </c:pt>
                <c:pt idx="496">
                  <c:v>40820</c:v>
                </c:pt>
                <c:pt idx="497">
                  <c:v>40821</c:v>
                </c:pt>
                <c:pt idx="498">
                  <c:v>40822</c:v>
                </c:pt>
                <c:pt idx="499">
                  <c:v>40823</c:v>
                </c:pt>
                <c:pt idx="500">
                  <c:v>40826</c:v>
                </c:pt>
                <c:pt idx="501">
                  <c:v>40827</c:v>
                </c:pt>
                <c:pt idx="502">
                  <c:v>40828</c:v>
                </c:pt>
                <c:pt idx="503">
                  <c:v>40829</c:v>
                </c:pt>
                <c:pt idx="504">
                  <c:v>40830</c:v>
                </c:pt>
                <c:pt idx="505">
                  <c:v>40833</c:v>
                </c:pt>
                <c:pt idx="506">
                  <c:v>40834</c:v>
                </c:pt>
                <c:pt idx="507">
                  <c:v>40835</c:v>
                </c:pt>
                <c:pt idx="508">
                  <c:v>40836</c:v>
                </c:pt>
                <c:pt idx="509">
                  <c:v>40837</c:v>
                </c:pt>
                <c:pt idx="510">
                  <c:v>40840</c:v>
                </c:pt>
                <c:pt idx="511">
                  <c:v>40841</c:v>
                </c:pt>
                <c:pt idx="512">
                  <c:v>40842</c:v>
                </c:pt>
                <c:pt idx="513">
                  <c:v>40843</c:v>
                </c:pt>
                <c:pt idx="514">
                  <c:v>40844</c:v>
                </c:pt>
                <c:pt idx="515">
                  <c:v>40847</c:v>
                </c:pt>
                <c:pt idx="516">
                  <c:v>40848</c:v>
                </c:pt>
                <c:pt idx="517">
                  <c:v>40849</c:v>
                </c:pt>
                <c:pt idx="518">
                  <c:v>40850</c:v>
                </c:pt>
                <c:pt idx="519">
                  <c:v>40851</c:v>
                </c:pt>
                <c:pt idx="520">
                  <c:v>40854</c:v>
                </c:pt>
                <c:pt idx="521">
                  <c:v>40855</c:v>
                </c:pt>
                <c:pt idx="522">
                  <c:v>40856</c:v>
                </c:pt>
                <c:pt idx="523">
                  <c:v>40857</c:v>
                </c:pt>
                <c:pt idx="524">
                  <c:v>40858</c:v>
                </c:pt>
                <c:pt idx="525">
                  <c:v>40861</c:v>
                </c:pt>
                <c:pt idx="526">
                  <c:v>40862</c:v>
                </c:pt>
                <c:pt idx="527">
                  <c:v>40863</c:v>
                </c:pt>
                <c:pt idx="528">
                  <c:v>40864</c:v>
                </c:pt>
                <c:pt idx="529">
                  <c:v>40865</c:v>
                </c:pt>
                <c:pt idx="530">
                  <c:v>40868</c:v>
                </c:pt>
                <c:pt idx="531">
                  <c:v>40869</c:v>
                </c:pt>
                <c:pt idx="532">
                  <c:v>40870</c:v>
                </c:pt>
                <c:pt idx="533">
                  <c:v>40871</c:v>
                </c:pt>
                <c:pt idx="534">
                  <c:v>40872</c:v>
                </c:pt>
                <c:pt idx="535">
                  <c:v>40875</c:v>
                </c:pt>
                <c:pt idx="536">
                  <c:v>40876</c:v>
                </c:pt>
                <c:pt idx="537">
                  <c:v>40877</c:v>
                </c:pt>
                <c:pt idx="538">
                  <c:v>40878</c:v>
                </c:pt>
                <c:pt idx="539">
                  <c:v>40879</c:v>
                </c:pt>
                <c:pt idx="540">
                  <c:v>40882</c:v>
                </c:pt>
                <c:pt idx="541">
                  <c:v>40883</c:v>
                </c:pt>
                <c:pt idx="542">
                  <c:v>40884</c:v>
                </c:pt>
                <c:pt idx="543">
                  <c:v>40885</c:v>
                </c:pt>
                <c:pt idx="544">
                  <c:v>40886</c:v>
                </c:pt>
                <c:pt idx="545">
                  <c:v>40889</c:v>
                </c:pt>
                <c:pt idx="546">
                  <c:v>40890</c:v>
                </c:pt>
                <c:pt idx="547">
                  <c:v>40891</c:v>
                </c:pt>
                <c:pt idx="548">
                  <c:v>40892</c:v>
                </c:pt>
                <c:pt idx="549">
                  <c:v>40893</c:v>
                </c:pt>
                <c:pt idx="550">
                  <c:v>40896</c:v>
                </c:pt>
                <c:pt idx="551">
                  <c:v>40897</c:v>
                </c:pt>
                <c:pt idx="552">
                  <c:v>40898</c:v>
                </c:pt>
                <c:pt idx="553">
                  <c:v>40899</c:v>
                </c:pt>
                <c:pt idx="554">
                  <c:v>40900</c:v>
                </c:pt>
                <c:pt idx="555">
                  <c:v>40904</c:v>
                </c:pt>
                <c:pt idx="556">
                  <c:v>40905</c:v>
                </c:pt>
                <c:pt idx="557">
                  <c:v>40906</c:v>
                </c:pt>
                <c:pt idx="558">
                  <c:v>40907</c:v>
                </c:pt>
                <c:pt idx="559">
                  <c:v>40910</c:v>
                </c:pt>
                <c:pt idx="560">
                  <c:v>40911</c:v>
                </c:pt>
                <c:pt idx="561">
                  <c:v>40912</c:v>
                </c:pt>
                <c:pt idx="562">
                  <c:v>40913</c:v>
                </c:pt>
                <c:pt idx="563">
                  <c:v>40914</c:v>
                </c:pt>
                <c:pt idx="564">
                  <c:v>40917</c:v>
                </c:pt>
                <c:pt idx="565">
                  <c:v>40918</c:v>
                </c:pt>
                <c:pt idx="566">
                  <c:v>40919</c:v>
                </c:pt>
                <c:pt idx="567">
                  <c:v>40920</c:v>
                </c:pt>
                <c:pt idx="568">
                  <c:v>40921</c:v>
                </c:pt>
                <c:pt idx="569">
                  <c:v>40924</c:v>
                </c:pt>
                <c:pt idx="570">
                  <c:v>40925</c:v>
                </c:pt>
                <c:pt idx="571">
                  <c:v>40926</c:v>
                </c:pt>
                <c:pt idx="572">
                  <c:v>40927</c:v>
                </c:pt>
                <c:pt idx="573">
                  <c:v>40928</c:v>
                </c:pt>
                <c:pt idx="574">
                  <c:v>40931</c:v>
                </c:pt>
                <c:pt idx="575">
                  <c:v>40932</c:v>
                </c:pt>
                <c:pt idx="576">
                  <c:v>40933</c:v>
                </c:pt>
                <c:pt idx="577">
                  <c:v>40934</c:v>
                </c:pt>
                <c:pt idx="578">
                  <c:v>40935</c:v>
                </c:pt>
                <c:pt idx="579">
                  <c:v>40938</c:v>
                </c:pt>
                <c:pt idx="580">
                  <c:v>40939</c:v>
                </c:pt>
                <c:pt idx="581">
                  <c:v>40940</c:v>
                </c:pt>
                <c:pt idx="582">
                  <c:v>40941</c:v>
                </c:pt>
                <c:pt idx="583">
                  <c:v>40942</c:v>
                </c:pt>
                <c:pt idx="584">
                  <c:v>40945</c:v>
                </c:pt>
                <c:pt idx="585">
                  <c:v>40946</c:v>
                </c:pt>
                <c:pt idx="586">
                  <c:v>40947</c:v>
                </c:pt>
                <c:pt idx="587">
                  <c:v>40948</c:v>
                </c:pt>
                <c:pt idx="588">
                  <c:v>40949</c:v>
                </c:pt>
                <c:pt idx="589">
                  <c:v>40952</c:v>
                </c:pt>
                <c:pt idx="590">
                  <c:v>40953</c:v>
                </c:pt>
                <c:pt idx="591">
                  <c:v>40954</c:v>
                </c:pt>
                <c:pt idx="592">
                  <c:v>40955</c:v>
                </c:pt>
                <c:pt idx="593">
                  <c:v>40956</c:v>
                </c:pt>
                <c:pt idx="594">
                  <c:v>40959</c:v>
                </c:pt>
                <c:pt idx="595">
                  <c:v>40960</c:v>
                </c:pt>
                <c:pt idx="596">
                  <c:v>40961</c:v>
                </c:pt>
                <c:pt idx="597">
                  <c:v>40962</c:v>
                </c:pt>
                <c:pt idx="598">
                  <c:v>40963</c:v>
                </c:pt>
                <c:pt idx="599">
                  <c:v>40966</c:v>
                </c:pt>
                <c:pt idx="600">
                  <c:v>40967</c:v>
                </c:pt>
                <c:pt idx="601">
                  <c:v>40968</c:v>
                </c:pt>
                <c:pt idx="602">
                  <c:v>40969</c:v>
                </c:pt>
                <c:pt idx="603">
                  <c:v>40970</c:v>
                </c:pt>
                <c:pt idx="604">
                  <c:v>40973</c:v>
                </c:pt>
                <c:pt idx="605">
                  <c:v>40974</c:v>
                </c:pt>
                <c:pt idx="606">
                  <c:v>40975</c:v>
                </c:pt>
                <c:pt idx="607">
                  <c:v>40976</c:v>
                </c:pt>
                <c:pt idx="608">
                  <c:v>40977</c:v>
                </c:pt>
                <c:pt idx="609">
                  <c:v>40980</c:v>
                </c:pt>
                <c:pt idx="610">
                  <c:v>40981</c:v>
                </c:pt>
                <c:pt idx="611">
                  <c:v>40982</c:v>
                </c:pt>
                <c:pt idx="612">
                  <c:v>40983</c:v>
                </c:pt>
                <c:pt idx="613">
                  <c:v>40984</c:v>
                </c:pt>
                <c:pt idx="614">
                  <c:v>40987</c:v>
                </c:pt>
                <c:pt idx="615">
                  <c:v>40988</c:v>
                </c:pt>
                <c:pt idx="616">
                  <c:v>40989</c:v>
                </c:pt>
                <c:pt idx="617">
                  <c:v>40990</c:v>
                </c:pt>
                <c:pt idx="618">
                  <c:v>40991</c:v>
                </c:pt>
                <c:pt idx="619">
                  <c:v>40994</c:v>
                </c:pt>
                <c:pt idx="620">
                  <c:v>40995</c:v>
                </c:pt>
                <c:pt idx="621">
                  <c:v>40996</c:v>
                </c:pt>
                <c:pt idx="622">
                  <c:v>40997</c:v>
                </c:pt>
                <c:pt idx="623">
                  <c:v>40998</c:v>
                </c:pt>
                <c:pt idx="624">
                  <c:v>41001</c:v>
                </c:pt>
                <c:pt idx="625">
                  <c:v>41002</c:v>
                </c:pt>
                <c:pt idx="626">
                  <c:v>41003</c:v>
                </c:pt>
                <c:pt idx="627">
                  <c:v>41004</c:v>
                </c:pt>
                <c:pt idx="628">
                  <c:v>41009</c:v>
                </c:pt>
                <c:pt idx="629">
                  <c:v>41010</c:v>
                </c:pt>
                <c:pt idx="630">
                  <c:v>41011</c:v>
                </c:pt>
                <c:pt idx="631">
                  <c:v>41012</c:v>
                </c:pt>
                <c:pt idx="632">
                  <c:v>41015</c:v>
                </c:pt>
                <c:pt idx="633">
                  <c:v>41016</c:v>
                </c:pt>
                <c:pt idx="634">
                  <c:v>41017</c:v>
                </c:pt>
                <c:pt idx="635">
                  <c:v>41018</c:v>
                </c:pt>
                <c:pt idx="636">
                  <c:v>41019</c:v>
                </c:pt>
                <c:pt idx="637">
                  <c:v>41022</c:v>
                </c:pt>
                <c:pt idx="638">
                  <c:v>41023</c:v>
                </c:pt>
                <c:pt idx="639">
                  <c:v>41024</c:v>
                </c:pt>
                <c:pt idx="640">
                  <c:v>41025</c:v>
                </c:pt>
                <c:pt idx="641">
                  <c:v>41026</c:v>
                </c:pt>
                <c:pt idx="642">
                  <c:v>41029</c:v>
                </c:pt>
                <c:pt idx="643">
                  <c:v>41030</c:v>
                </c:pt>
                <c:pt idx="644">
                  <c:v>41031</c:v>
                </c:pt>
                <c:pt idx="645">
                  <c:v>41032</c:v>
                </c:pt>
                <c:pt idx="646">
                  <c:v>41033</c:v>
                </c:pt>
                <c:pt idx="647">
                  <c:v>41036</c:v>
                </c:pt>
                <c:pt idx="648">
                  <c:v>41037</c:v>
                </c:pt>
                <c:pt idx="649">
                  <c:v>41038</c:v>
                </c:pt>
                <c:pt idx="650">
                  <c:v>41039</c:v>
                </c:pt>
                <c:pt idx="651">
                  <c:v>41040</c:v>
                </c:pt>
                <c:pt idx="652">
                  <c:v>41043</c:v>
                </c:pt>
                <c:pt idx="653">
                  <c:v>41044</c:v>
                </c:pt>
                <c:pt idx="654">
                  <c:v>41045</c:v>
                </c:pt>
                <c:pt idx="655">
                  <c:v>41046</c:v>
                </c:pt>
                <c:pt idx="656">
                  <c:v>41047</c:v>
                </c:pt>
                <c:pt idx="657">
                  <c:v>41050</c:v>
                </c:pt>
                <c:pt idx="658">
                  <c:v>41051</c:v>
                </c:pt>
                <c:pt idx="659">
                  <c:v>41052</c:v>
                </c:pt>
                <c:pt idx="660">
                  <c:v>41053</c:v>
                </c:pt>
                <c:pt idx="661">
                  <c:v>41054</c:v>
                </c:pt>
                <c:pt idx="662">
                  <c:v>41057</c:v>
                </c:pt>
                <c:pt idx="663">
                  <c:v>41058</c:v>
                </c:pt>
                <c:pt idx="664">
                  <c:v>41059</c:v>
                </c:pt>
                <c:pt idx="665">
                  <c:v>41060</c:v>
                </c:pt>
                <c:pt idx="666">
                  <c:v>41061</c:v>
                </c:pt>
                <c:pt idx="667">
                  <c:v>41064</c:v>
                </c:pt>
                <c:pt idx="668">
                  <c:v>41065</c:v>
                </c:pt>
                <c:pt idx="669">
                  <c:v>41066</c:v>
                </c:pt>
                <c:pt idx="670">
                  <c:v>41067</c:v>
                </c:pt>
                <c:pt idx="671">
                  <c:v>41068</c:v>
                </c:pt>
                <c:pt idx="672">
                  <c:v>41071</c:v>
                </c:pt>
                <c:pt idx="673">
                  <c:v>41072</c:v>
                </c:pt>
                <c:pt idx="674">
                  <c:v>41073</c:v>
                </c:pt>
                <c:pt idx="675">
                  <c:v>41074</c:v>
                </c:pt>
                <c:pt idx="676">
                  <c:v>41075</c:v>
                </c:pt>
                <c:pt idx="677">
                  <c:v>41078</c:v>
                </c:pt>
                <c:pt idx="678">
                  <c:v>41079</c:v>
                </c:pt>
                <c:pt idx="679">
                  <c:v>41080</c:v>
                </c:pt>
                <c:pt idx="680">
                  <c:v>41081</c:v>
                </c:pt>
                <c:pt idx="681">
                  <c:v>41082</c:v>
                </c:pt>
                <c:pt idx="682">
                  <c:v>41085</c:v>
                </c:pt>
                <c:pt idx="683">
                  <c:v>41086</c:v>
                </c:pt>
                <c:pt idx="684">
                  <c:v>41087</c:v>
                </c:pt>
                <c:pt idx="685">
                  <c:v>41088</c:v>
                </c:pt>
                <c:pt idx="686">
                  <c:v>41089</c:v>
                </c:pt>
                <c:pt idx="687">
                  <c:v>41092</c:v>
                </c:pt>
                <c:pt idx="688">
                  <c:v>41093</c:v>
                </c:pt>
                <c:pt idx="689">
                  <c:v>41094</c:v>
                </c:pt>
                <c:pt idx="690">
                  <c:v>41095</c:v>
                </c:pt>
                <c:pt idx="691">
                  <c:v>41096</c:v>
                </c:pt>
                <c:pt idx="692">
                  <c:v>41099</c:v>
                </c:pt>
                <c:pt idx="693">
                  <c:v>41100</c:v>
                </c:pt>
                <c:pt idx="694">
                  <c:v>41101</c:v>
                </c:pt>
                <c:pt idx="695">
                  <c:v>41102</c:v>
                </c:pt>
                <c:pt idx="696">
                  <c:v>41103</c:v>
                </c:pt>
                <c:pt idx="697">
                  <c:v>41106</c:v>
                </c:pt>
                <c:pt idx="698">
                  <c:v>41107</c:v>
                </c:pt>
                <c:pt idx="699">
                  <c:v>41108</c:v>
                </c:pt>
                <c:pt idx="700">
                  <c:v>41109</c:v>
                </c:pt>
                <c:pt idx="701">
                  <c:v>41110</c:v>
                </c:pt>
                <c:pt idx="702">
                  <c:v>41113</c:v>
                </c:pt>
                <c:pt idx="703">
                  <c:v>41114</c:v>
                </c:pt>
                <c:pt idx="704">
                  <c:v>41115</c:v>
                </c:pt>
                <c:pt idx="705">
                  <c:v>41116</c:v>
                </c:pt>
                <c:pt idx="706">
                  <c:v>41117</c:v>
                </c:pt>
                <c:pt idx="707">
                  <c:v>41120</c:v>
                </c:pt>
                <c:pt idx="708">
                  <c:v>41121</c:v>
                </c:pt>
                <c:pt idx="709">
                  <c:v>41122</c:v>
                </c:pt>
                <c:pt idx="710">
                  <c:v>41123</c:v>
                </c:pt>
                <c:pt idx="711">
                  <c:v>41124</c:v>
                </c:pt>
                <c:pt idx="712">
                  <c:v>41127</c:v>
                </c:pt>
                <c:pt idx="713">
                  <c:v>41128</c:v>
                </c:pt>
                <c:pt idx="714">
                  <c:v>41129</c:v>
                </c:pt>
                <c:pt idx="715">
                  <c:v>41130</c:v>
                </c:pt>
                <c:pt idx="716">
                  <c:v>41131</c:v>
                </c:pt>
                <c:pt idx="717">
                  <c:v>41134</c:v>
                </c:pt>
                <c:pt idx="718">
                  <c:v>41135</c:v>
                </c:pt>
                <c:pt idx="719">
                  <c:v>41136</c:v>
                </c:pt>
                <c:pt idx="720">
                  <c:v>41137</c:v>
                </c:pt>
                <c:pt idx="721">
                  <c:v>41138</c:v>
                </c:pt>
                <c:pt idx="722">
                  <c:v>41141</c:v>
                </c:pt>
                <c:pt idx="723">
                  <c:v>41142</c:v>
                </c:pt>
                <c:pt idx="724">
                  <c:v>41143</c:v>
                </c:pt>
                <c:pt idx="725">
                  <c:v>41144</c:v>
                </c:pt>
                <c:pt idx="726">
                  <c:v>41145</c:v>
                </c:pt>
                <c:pt idx="727">
                  <c:v>41148</c:v>
                </c:pt>
                <c:pt idx="728">
                  <c:v>41149</c:v>
                </c:pt>
                <c:pt idx="729">
                  <c:v>41150</c:v>
                </c:pt>
                <c:pt idx="730">
                  <c:v>41151</c:v>
                </c:pt>
                <c:pt idx="731">
                  <c:v>41152</c:v>
                </c:pt>
                <c:pt idx="732">
                  <c:v>41155</c:v>
                </c:pt>
                <c:pt idx="733">
                  <c:v>41156</c:v>
                </c:pt>
                <c:pt idx="734">
                  <c:v>41157</c:v>
                </c:pt>
                <c:pt idx="735">
                  <c:v>41158</c:v>
                </c:pt>
                <c:pt idx="736">
                  <c:v>41159</c:v>
                </c:pt>
                <c:pt idx="737">
                  <c:v>41162</c:v>
                </c:pt>
                <c:pt idx="738">
                  <c:v>41163</c:v>
                </c:pt>
                <c:pt idx="739">
                  <c:v>41164</c:v>
                </c:pt>
                <c:pt idx="740">
                  <c:v>41165</c:v>
                </c:pt>
                <c:pt idx="741">
                  <c:v>41166</c:v>
                </c:pt>
                <c:pt idx="742">
                  <c:v>41169</c:v>
                </c:pt>
                <c:pt idx="743">
                  <c:v>41170</c:v>
                </c:pt>
                <c:pt idx="744">
                  <c:v>41171</c:v>
                </c:pt>
                <c:pt idx="745">
                  <c:v>41172</c:v>
                </c:pt>
                <c:pt idx="746">
                  <c:v>41173</c:v>
                </c:pt>
                <c:pt idx="747">
                  <c:v>41176</c:v>
                </c:pt>
                <c:pt idx="748">
                  <c:v>41177</c:v>
                </c:pt>
                <c:pt idx="749">
                  <c:v>41178</c:v>
                </c:pt>
                <c:pt idx="750">
                  <c:v>41179</c:v>
                </c:pt>
                <c:pt idx="751">
                  <c:v>41180</c:v>
                </c:pt>
                <c:pt idx="752">
                  <c:v>41183</c:v>
                </c:pt>
                <c:pt idx="753">
                  <c:v>41184</c:v>
                </c:pt>
                <c:pt idx="754">
                  <c:v>41185</c:v>
                </c:pt>
                <c:pt idx="755">
                  <c:v>41186</c:v>
                </c:pt>
                <c:pt idx="756">
                  <c:v>41187</c:v>
                </c:pt>
                <c:pt idx="757">
                  <c:v>41190</c:v>
                </c:pt>
                <c:pt idx="758">
                  <c:v>41191</c:v>
                </c:pt>
                <c:pt idx="759">
                  <c:v>41192</c:v>
                </c:pt>
                <c:pt idx="760">
                  <c:v>41193</c:v>
                </c:pt>
                <c:pt idx="761">
                  <c:v>41194</c:v>
                </c:pt>
                <c:pt idx="762">
                  <c:v>41197</c:v>
                </c:pt>
                <c:pt idx="763">
                  <c:v>41198</c:v>
                </c:pt>
                <c:pt idx="764">
                  <c:v>41199</c:v>
                </c:pt>
                <c:pt idx="765">
                  <c:v>41200</c:v>
                </c:pt>
                <c:pt idx="766">
                  <c:v>41201</c:v>
                </c:pt>
                <c:pt idx="767">
                  <c:v>41204</c:v>
                </c:pt>
                <c:pt idx="768">
                  <c:v>41205</c:v>
                </c:pt>
                <c:pt idx="769">
                  <c:v>41206</c:v>
                </c:pt>
                <c:pt idx="770">
                  <c:v>41207</c:v>
                </c:pt>
                <c:pt idx="771">
                  <c:v>41208</c:v>
                </c:pt>
                <c:pt idx="772">
                  <c:v>41211</c:v>
                </c:pt>
                <c:pt idx="773">
                  <c:v>41212</c:v>
                </c:pt>
                <c:pt idx="774">
                  <c:v>41213</c:v>
                </c:pt>
                <c:pt idx="775">
                  <c:v>41214</c:v>
                </c:pt>
                <c:pt idx="776">
                  <c:v>41215</c:v>
                </c:pt>
                <c:pt idx="777">
                  <c:v>41218</c:v>
                </c:pt>
                <c:pt idx="778">
                  <c:v>41219</c:v>
                </c:pt>
                <c:pt idx="779">
                  <c:v>41220</c:v>
                </c:pt>
                <c:pt idx="780">
                  <c:v>41221</c:v>
                </c:pt>
                <c:pt idx="781">
                  <c:v>41222</c:v>
                </c:pt>
                <c:pt idx="782">
                  <c:v>41225</c:v>
                </c:pt>
                <c:pt idx="783">
                  <c:v>41226</c:v>
                </c:pt>
                <c:pt idx="784">
                  <c:v>41227</c:v>
                </c:pt>
                <c:pt idx="785">
                  <c:v>41228</c:v>
                </c:pt>
                <c:pt idx="786">
                  <c:v>41229</c:v>
                </c:pt>
                <c:pt idx="787">
                  <c:v>41232</c:v>
                </c:pt>
                <c:pt idx="788">
                  <c:v>41233</c:v>
                </c:pt>
                <c:pt idx="789">
                  <c:v>41234</c:v>
                </c:pt>
                <c:pt idx="790">
                  <c:v>41235</c:v>
                </c:pt>
                <c:pt idx="791">
                  <c:v>41236</c:v>
                </c:pt>
                <c:pt idx="792">
                  <c:v>41239</c:v>
                </c:pt>
                <c:pt idx="793">
                  <c:v>41240</c:v>
                </c:pt>
                <c:pt idx="794">
                  <c:v>41241</c:v>
                </c:pt>
                <c:pt idx="795">
                  <c:v>41242</c:v>
                </c:pt>
                <c:pt idx="796">
                  <c:v>41243</c:v>
                </c:pt>
                <c:pt idx="797">
                  <c:v>41246</c:v>
                </c:pt>
                <c:pt idx="798">
                  <c:v>41247</c:v>
                </c:pt>
                <c:pt idx="799">
                  <c:v>41248</c:v>
                </c:pt>
                <c:pt idx="800">
                  <c:v>41249</c:v>
                </c:pt>
                <c:pt idx="801">
                  <c:v>41250</c:v>
                </c:pt>
                <c:pt idx="802">
                  <c:v>41253</c:v>
                </c:pt>
                <c:pt idx="803">
                  <c:v>41254</c:v>
                </c:pt>
                <c:pt idx="804">
                  <c:v>41255</c:v>
                </c:pt>
                <c:pt idx="805">
                  <c:v>41256</c:v>
                </c:pt>
                <c:pt idx="806">
                  <c:v>41257</c:v>
                </c:pt>
                <c:pt idx="807">
                  <c:v>41260</c:v>
                </c:pt>
                <c:pt idx="808">
                  <c:v>41261</c:v>
                </c:pt>
                <c:pt idx="809">
                  <c:v>41262</c:v>
                </c:pt>
                <c:pt idx="810">
                  <c:v>41263</c:v>
                </c:pt>
                <c:pt idx="811">
                  <c:v>41264</c:v>
                </c:pt>
                <c:pt idx="812">
                  <c:v>41267</c:v>
                </c:pt>
                <c:pt idx="813">
                  <c:v>41270</c:v>
                </c:pt>
                <c:pt idx="814">
                  <c:v>41271</c:v>
                </c:pt>
                <c:pt idx="815">
                  <c:v>41274</c:v>
                </c:pt>
                <c:pt idx="816">
                  <c:v>41276</c:v>
                </c:pt>
                <c:pt idx="817">
                  <c:v>41277</c:v>
                </c:pt>
                <c:pt idx="818">
                  <c:v>41278</c:v>
                </c:pt>
                <c:pt idx="819">
                  <c:v>41281</c:v>
                </c:pt>
                <c:pt idx="820">
                  <c:v>41282</c:v>
                </c:pt>
                <c:pt idx="821">
                  <c:v>41283</c:v>
                </c:pt>
                <c:pt idx="822">
                  <c:v>41284</c:v>
                </c:pt>
                <c:pt idx="823">
                  <c:v>41285</c:v>
                </c:pt>
                <c:pt idx="824">
                  <c:v>41288</c:v>
                </c:pt>
                <c:pt idx="825">
                  <c:v>41289</c:v>
                </c:pt>
                <c:pt idx="826">
                  <c:v>41290</c:v>
                </c:pt>
                <c:pt idx="827">
                  <c:v>41291</c:v>
                </c:pt>
                <c:pt idx="828">
                  <c:v>41292</c:v>
                </c:pt>
                <c:pt idx="829">
                  <c:v>41295</c:v>
                </c:pt>
                <c:pt idx="830">
                  <c:v>41296</c:v>
                </c:pt>
                <c:pt idx="831">
                  <c:v>41297</c:v>
                </c:pt>
                <c:pt idx="832">
                  <c:v>41298</c:v>
                </c:pt>
                <c:pt idx="833">
                  <c:v>41299</c:v>
                </c:pt>
                <c:pt idx="834">
                  <c:v>41302</c:v>
                </c:pt>
                <c:pt idx="835">
                  <c:v>41303</c:v>
                </c:pt>
                <c:pt idx="836">
                  <c:v>41304</c:v>
                </c:pt>
                <c:pt idx="837">
                  <c:v>41305</c:v>
                </c:pt>
                <c:pt idx="838">
                  <c:v>41306</c:v>
                </c:pt>
                <c:pt idx="839">
                  <c:v>41309</c:v>
                </c:pt>
                <c:pt idx="840">
                  <c:v>41310</c:v>
                </c:pt>
                <c:pt idx="841">
                  <c:v>41311</c:v>
                </c:pt>
                <c:pt idx="842">
                  <c:v>41312</c:v>
                </c:pt>
                <c:pt idx="843">
                  <c:v>41313</c:v>
                </c:pt>
                <c:pt idx="844">
                  <c:v>41316</c:v>
                </c:pt>
                <c:pt idx="845">
                  <c:v>41317</c:v>
                </c:pt>
                <c:pt idx="846">
                  <c:v>41318</c:v>
                </c:pt>
                <c:pt idx="847">
                  <c:v>41319</c:v>
                </c:pt>
                <c:pt idx="848">
                  <c:v>41320</c:v>
                </c:pt>
                <c:pt idx="849">
                  <c:v>41323</c:v>
                </c:pt>
                <c:pt idx="850">
                  <c:v>41324</c:v>
                </c:pt>
                <c:pt idx="851">
                  <c:v>41325</c:v>
                </c:pt>
                <c:pt idx="852">
                  <c:v>41326</c:v>
                </c:pt>
                <c:pt idx="853">
                  <c:v>41327</c:v>
                </c:pt>
                <c:pt idx="854">
                  <c:v>41330</c:v>
                </c:pt>
                <c:pt idx="855">
                  <c:v>41331</c:v>
                </c:pt>
                <c:pt idx="856">
                  <c:v>41332</c:v>
                </c:pt>
                <c:pt idx="857">
                  <c:v>41333</c:v>
                </c:pt>
                <c:pt idx="858">
                  <c:v>41334</c:v>
                </c:pt>
                <c:pt idx="859">
                  <c:v>41337</c:v>
                </c:pt>
                <c:pt idx="860">
                  <c:v>41338</c:v>
                </c:pt>
                <c:pt idx="861">
                  <c:v>41339</c:v>
                </c:pt>
                <c:pt idx="862">
                  <c:v>41340</c:v>
                </c:pt>
                <c:pt idx="863">
                  <c:v>41341</c:v>
                </c:pt>
                <c:pt idx="864">
                  <c:v>41344</c:v>
                </c:pt>
                <c:pt idx="865">
                  <c:v>41345</c:v>
                </c:pt>
                <c:pt idx="866">
                  <c:v>41346</c:v>
                </c:pt>
                <c:pt idx="867">
                  <c:v>41347</c:v>
                </c:pt>
                <c:pt idx="868">
                  <c:v>41348</c:v>
                </c:pt>
                <c:pt idx="869">
                  <c:v>41351</c:v>
                </c:pt>
                <c:pt idx="870">
                  <c:v>41352</c:v>
                </c:pt>
                <c:pt idx="871">
                  <c:v>41353</c:v>
                </c:pt>
                <c:pt idx="872">
                  <c:v>41354</c:v>
                </c:pt>
                <c:pt idx="873">
                  <c:v>41355</c:v>
                </c:pt>
                <c:pt idx="874">
                  <c:v>41358</c:v>
                </c:pt>
                <c:pt idx="875">
                  <c:v>41359</c:v>
                </c:pt>
                <c:pt idx="876">
                  <c:v>41360</c:v>
                </c:pt>
                <c:pt idx="877">
                  <c:v>41361</c:v>
                </c:pt>
                <c:pt idx="878">
                  <c:v>41366</c:v>
                </c:pt>
                <c:pt idx="879">
                  <c:v>41367</c:v>
                </c:pt>
                <c:pt idx="880">
                  <c:v>41368</c:v>
                </c:pt>
                <c:pt idx="881">
                  <c:v>41369</c:v>
                </c:pt>
                <c:pt idx="882">
                  <c:v>41372</c:v>
                </c:pt>
                <c:pt idx="883">
                  <c:v>41373</c:v>
                </c:pt>
                <c:pt idx="884">
                  <c:v>41374</c:v>
                </c:pt>
                <c:pt idx="885">
                  <c:v>41375</c:v>
                </c:pt>
                <c:pt idx="886">
                  <c:v>41376</c:v>
                </c:pt>
                <c:pt idx="887">
                  <c:v>41379</c:v>
                </c:pt>
                <c:pt idx="888">
                  <c:v>41380</c:v>
                </c:pt>
                <c:pt idx="889">
                  <c:v>41381</c:v>
                </c:pt>
                <c:pt idx="890">
                  <c:v>41382</c:v>
                </c:pt>
                <c:pt idx="891">
                  <c:v>41383</c:v>
                </c:pt>
                <c:pt idx="892">
                  <c:v>41386</c:v>
                </c:pt>
                <c:pt idx="893">
                  <c:v>41387</c:v>
                </c:pt>
                <c:pt idx="894">
                  <c:v>41388</c:v>
                </c:pt>
                <c:pt idx="895">
                  <c:v>41389</c:v>
                </c:pt>
                <c:pt idx="896">
                  <c:v>41390</c:v>
                </c:pt>
                <c:pt idx="897">
                  <c:v>41393</c:v>
                </c:pt>
                <c:pt idx="898">
                  <c:v>41394</c:v>
                </c:pt>
                <c:pt idx="899">
                  <c:v>41395</c:v>
                </c:pt>
                <c:pt idx="900">
                  <c:v>41396</c:v>
                </c:pt>
                <c:pt idx="901">
                  <c:v>41397</c:v>
                </c:pt>
                <c:pt idx="902">
                  <c:v>41400</c:v>
                </c:pt>
                <c:pt idx="903">
                  <c:v>41401</c:v>
                </c:pt>
                <c:pt idx="904">
                  <c:v>41402</c:v>
                </c:pt>
                <c:pt idx="905">
                  <c:v>41403</c:v>
                </c:pt>
                <c:pt idx="906">
                  <c:v>41404</c:v>
                </c:pt>
                <c:pt idx="907">
                  <c:v>41407</c:v>
                </c:pt>
                <c:pt idx="908">
                  <c:v>41408</c:v>
                </c:pt>
                <c:pt idx="909">
                  <c:v>41409</c:v>
                </c:pt>
                <c:pt idx="910">
                  <c:v>41410</c:v>
                </c:pt>
                <c:pt idx="911">
                  <c:v>41411</c:v>
                </c:pt>
                <c:pt idx="912">
                  <c:v>41414</c:v>
                </c:pt>
                <c:pt idx="913">
                  <c:v>41415</c:v>
                </c:pt>
                <c:pt idx="914">
                  <c:v>41416</c:v>
                </c:pt>
                <c:pt idx="915">
                  <c:v>41417</c:v>
                </c:pt>
                <c:pt idx="916">
                  <c:v>41418</c:v>
                </c:pt>
                <c:pt idx="917">
                  <c:v>41421</c:v>
                </c:pt>
                <c:pt idx="918">
                  <c:v>41422</c:v>
                </c:pt>
                <c:pt idx="919">
                  <c:v>41423</c:v>
                </c:pt>
                <c:pt idx="920">
                  <c:v>41424</c:v>
                </c:pt>
                <c:pt idx="921">
                  <c:v>41425</c:v>
                </c:pt>
                <c:pt idx="922">
                  <c:v>41428</c:v>
                </c:pt>
                <c:pt idx="923">
                  <c:v>41429</c:v>
                </c:pt>
                <c:pt idx="924">
                  <c:v>41430</c:v>
                </c:pt>
                <c:pt idx="925">
                  <c:v>41431</c:v>
                </c:pt>
                <c:pt idx="926">
                  <c:v>41432</c:v>
                </c:pt>
                <c:pt idx="927">
                  <c:v>41435</c:v>
                </c:pt>
                <c:pt idx="928">
                  <c:v>41436</c:v>
                </c:pt>
                <c:pt idx="929">
                  <c:v>41437</c:v>
                </c:pt>
                <c:pt idx="930">
                  <c:v>41438</c:v>
                </c:pt>
                <c:pt idx="931">
                  <c:v>41439</c:v>
                </c:pt>
                <c:pt idx="932">
                  <c:v>41442</c:v>
                </c:pt>
                <c:pt idx="933">
                  <c:v>41443</c:v>
                </c:pt>
                <c:pt idx="934">
                  <c:v>41444</c:v>
                </c:pt>
                <c:pt idx="935">
                  <c:v>41445</c:v>
                </c:pt>
                <c:pt idx="936">
                  <c:v>41446</c:v>
                </c:pt>
                <c:pt idx="937">
                  <c:v>41449</c:v>
                </c:pt>
                <c:pt idx="938">
                  <c:v>41450</c:v>
                </c:pt>
                <c:pt idx="939">
                  <c:v>41451</c:v>
                </c:pt>
                <c:pt idx="940">
                  <c:v>41452</c:v>
                </c:pt>
                <c:pt idx="941">
                  <c:v>41453</c:v>
                </c:pt>
                <c:pt idx="942">
                  <c:v>41456</c:v>
                </c:pt>
                <c:pt idx="943">
                  <c:v>41457</c:v>
                </c:pt>
                <c:pt idx="944">
                  <c:v>41458</c:v>
                </c:pt>
                <c:pt idx="945">
                  <c:v>41459</c:v>
                </c:pt>
                <c:pt idx="946">
                  <c:v>41460</c:v>
                </c:pt>
                <c:pt idx="947">
                  <c:v>41463</c:v>
                </c:pt>
                <c:pt idx="948">
                  <c:v>41464</c:v>
                </c:pt>
                <c:pt idx="949">
                  <c:v>41465</c:v>
                </c:pt>
                <c:pt idx="950">
                  <c:v>41466</c:v>
                </c:pt>
                <c:pt idx="951">
                  <c:v>41467</c:v>
                </c:pt>
                <c:pt idx="952">
                  <c:v>41470</c:v>
                </c:pt>
                <c:pt idx="953">
                  <c:v>41471</c:v>
                </c:pt>
                <c:pt idx="954">
                  <c:v>41472</c:v>
                </c:pt>
                <c:pt idx="955">
                  <c:v>41473</c:v>
                </c:pt>
                <c:pt idx="956">
                  <c:v>41474</c:v>
                </c:pt>
                <c:pt idx="957">
                  <c:v>41477</c:v>
                </c:pt>
                <c:pt idx="958">
                  <c:v>41478</c:v>
                </c:pt>
                <c:pt idx="959">
                  <c:v>41479</c:v>
                </c:pt>
                <c:pt idx="960">
                  <c:v>41480</c:v>
                </c:pt>
                <c:pt idx="961">
                  <c:v>41481</c:v>
                </c:pt>
                <c:pt idx="962">
                  <c:v>41484</c:v>
                </c:pt>
                <c:pt idx="963">
                  <c:v>41485</c:v>
                </c:pt>
                <c:pt idx="964">
                  <c:v>41486</c:v>
                </c:pt>
                <c:pt idx="965">
                  <c:v>41487</c:v>
                </c:pt>
                <c:pt idx="966">
                  <c:v>41488</c:v>
                </c:pt>
                <c:pt idx="967">
                  <c:v>41491</c:v>
                </c:pt>
                <c:pt idx="968">
                  <c:v>41492</c:v>
                </c:pt>
                <c:pt idx="969">
                  <c:v>41493</c:v>
                </c:pt>
                <c:pt idx="970">
                  <c:v>41494</c:v>
                </c:pt>
                <c:pt idx="971">
                  <c:v>41495</c:v>
                </c:pt>
                <c:pt idx="972">
                  <c:v>41498</c:v>
                </c:pt>
                <c:pt idx="973">
                  <c:v>41499</c:v>
                </c:pt>
                <c:pt idx="974">
                  <c:v>41500</c:v>
                </c:pt>
                <c:pt idx="975">
                  <c:v>41501</c:v>
                </c:pt>
                <c:pt idx="976">
                  <c:v>41502</c:v>
                </c:pt>
                <c:pt idx="977">
                  <c:v>41505</c:v>
                </c:pt>
                <c:pt idx="978">
                  <c:v>41506</c:v>
                </c:pt>
                <c:pt idx="979">
                  <c:v>41507</c:v>
                </c:pt>
                <c:pt idx="980">
                  <c:v>41508</c:v>
                </c:pt>
                <c:pt idx="981">
                  <c:v>41509</c:v>
                </c:pt>
                <c:pt idx="982">
                  <c:v>41512</c:v>
                </c:pt>
                <c:pt idx="983">
                  <c:v>41513</c:v>
                </c:pt>
                <c:pt idx="984">
                  <c:v>41514</c:v>
                </c:pt>
                <c:pt idx="985">
                  <c:v>41515</c:v>
                </c:pt>
                <c:pt idx="986">
                  <c:v>41516</c:v>
                </c:pt>
                <c:pt idx="987">
                  <c:v>41519</c:v>
                </c:pt>
                <c:pt idx="988">
                  <c:v>41520</c:v>
                </c:pt>
                <c:pt idx="989">
                  <c:v>41521</c:v>
                </c:pt>
                <c:pt idx="990">
                  <c:v>41522</c:v>
                </c:pt>
                <c:pt idx="991">
                  <c:v>41523</c:v>
                </c:pt>
                <c:pt idx="992">
                  <c:v>41526</c:v>
                </c:pt>
                <c:pt idx="993">
                  <c:v>41527</c:v>
                </c:pt>
                <c:pt idx="994">
                  <c:v>41528</c:v>
                </c:pt>
                <c:pt idx="995">
                  <c:v>41529</c:v>
                </c:pt>
                <c:pt idx="996">
                  <c:v>41530</c:v>
                </c:pt>
                <c:pt idx="997">
                  <c:v>41533</c:v>
                </c:pt>
                <c:pt idx="998">
                  <c:v>41534</c:v>
                </c:pt>
                <c:pt idx="999">
                  <c:v>41535</c:v>
                </c:pt>
                <c:pt idx="1000">
                  <c:v>41536</c:v>
                </c:pt>
                <c:pt idx="1001">
                  <c:v>41537</c:v>
                </c:pt>
                <c:pt idx="1002">
                  <c:v>41540</c:v>
                </c:pt>
                <c:pt idx="1003">
                  <c:v>41541</c:v>
                </c:pt>
                <c:pt idx="1004">
                  <c:v>41542</c:v>
                </c:pt>
                <c:pt idx="1005">
                  <c:v>41543</c:v>
                </c:pt>
                <c:pt idx="1006">
                  <c:v>41544</c:v>
                </c:pt>
                <c:pt idx="1007">
                  <c:v>41547</c:v>
                </c:pt>
                <c:pt idx="1008">
                  <c:v>41548</c:v>
                </c:pt>
                <c:pt idx="1009">
                  <c:v>41549</c:v>
                </c:pt>
                <c:pt idx="1010">
                  <c:v>41550</c:v>
                </c:pt>
                <c:pt idx="1011">
                  <c:v>41551</c:v>
                </c:pt>
                <c:pt idx="1012">
                  <c:v>41554</c:v>
                </c:pt>
                <c:pt idx="1013">
                  <c:v>41555</c:v>
                </c:pt>
                <c:pt idx="1014">
                  <c:v>41556</c:v>
                </c:pt>
                <c:pt idx="1015">
                  <c:v>41557</c:v>
                </c:pt>
                <c:pt idx="1016">
                  <c:v>41558</c:v>
                </c:pt>
                <c:pt idx="1017">
                  <c:v>41561</c:v>
                </c:pt>
                <c:pt idx="1018">
                  <c:v>41562</c:v>
                </c:pt>
                <c:pt idx="1019">
                  <c:v>41563</c:v>
                </c:pt>
                <c:pt idx="1020">
                  <c:v>41564</c:v>
                </c:pt>
                <c:pt idx="1021">
                  <c:v>41565</c:v>
                </c:pt>
                <c:pt idx="1022">
                  <c:v>41568</c:v>
                </c:pt>
                <c:pt idx="1023">
                  <c:v>41569</c:v>
                </c:pt>
                <c:pt idx="1024">
                  <c:v>41570</c:v>
                </c:pt>
                <c:pt idx="1025">
                  <c:v>41571</c:v>
                </c:pt>
                <c:pt idx="1026">
                  <c:v>41572</c:v>
                </c:pt>
                <c:pt idx="1027">
                  <c:v>41575</c:v>
                </c:pt>
                <c:pt idx="1028">
                  <c:v>41576</c:v>
                </c:pt>
                <c:pt idx="1029">
                  <c:v>41577</c:v>
                </c:pt>
                <c:pt idx="1030">
                  <c:v>41578</c:v>
                </c:pt>
                <c:pt idx="1031">
                  <c:v>41579</c:v>
                </c:pt>
                <c:pt idx="1032">
                  <c:v>41582</c:v>
                </c:pt>
                <c:pt idx="1033">
                  <c:v>41583</c:v>
                </c:pt>
                <c:pt idx="1034">
                  <c:v>41584</c:v>
                </c:pt>
                <c:pt idx="1035">
                  <c:v>41585</c:v>
                </c:pt>
                <c:pt idx="1036">
                  <c:v>41586</c:v>
                </c:pt>
                <c:pt idx="1037">
                  <c:v>41589</c:v>
                </c:pt>
                <c:pt idx="1038">
                  <c:v>41590</c:v>
                </c:pt>
                <c:pt idx="1039">
                  <c:v>41591</c:v>
                </c:pt>
                <c:pt idx="1040">
                  <c:v>41592</c:v>
                </c:pt>
                <c:pt idx="1041">
                  <c:v>41593</c:v>
                </c:pt>
                <c:pt idx="1042">
                  <c:v>41596</c:v>
                </c:pt>
                <c:pt idx="1043">
                  <c:v>41597</c:v>
                </c:pt>
                <c:pt idx="1044">
                  <c:v>41598</c:v>
                </c:pt>
                <c:pt idx="1045">
                  <c:v>41599</c:v>
                </c:pt>
                <c:pt idx="1046">
                  <c:v>41600</c:v>
                </c:pt>
                <c:pt idx="1047">
                  <c:v>41603</c:v>
                </c:pt>
                <c:pt idx="1048">
                  <c:v>41604</c:v>
                </c:pt>
                <c:pt idx="1049">
                  <c:v>41605</c:v>
                </c:pt>
                <c:pt idx="1050">
                  <c:v>41606</c:v>
                </c:pt>
                <c:pt idx="1051">
                  <c:v>41607</c:v>
                </c:pt>
                <c:pt idx="1052">
                  <c:v>41610</c:v>
                </c:pt>
                <c:pt idx="1053">
                  <c:v>41611</c:v>
                </c:pt>
                <c:pt idx="1054">
                  <c:v>41612</c:v>
                </c:pt>
                <c:pt idx="1055">
                  <c:v>41613</c:v>
                </c:pt>
                <c:pt idx="1056">
                  <c:v>41614</c:v>
                </c:pt>
                <c:pt idx="1057">
                  <c:v>41617</c:v>
                </c:pt>
                <c:pt idx="1058">
                  <c:v>41618</c:v>
                </c:pt>
                <c:pt idx="1059">
                  <c:v>41619</c:v>
                </c:pt>
                <c:pt idx="1060">
                  <c:v>41620</c:v>
                </c:pt>
                <c:pt idx="1061">
                  <c:v>41621</c:v>
                </c:pt>
                <c:pt idx="1062">
                  <c:v>41624</c:v>
                </c:pt>
                <c:pt idx="1063">
                  <c:v>41625</c:v>
                </c:pt>
                <c:pt idx="1064">
                  <c:v>41626</c:v>
                </c:pt>
                <c:pt idx="1065">
                  <c:v>41627</c:v>
                </c:pt>
                <c:pt idx="1066">
                  <c:v>41628</c:v>
                </c:pt>
                <c:pt idx="1067">
                  <c:v>41631</c:v>
                </c:pt>
                <c:pt idx="1068">
                  <c:v>41632</c:v>
                </c:pt>
                <c:pt idx="1069">
                  <c:v>41635</c:v>
                </c:pt>
                <c:pt idx="1070">
                  <c:v>41638</c:v>
                </c:pt>
                <c:pt idx="1071">
                  <c:v>41639</c:v>
                </c:pt>
                <c:pt idx="1072">
                  <c:v>41641</c:v>
                </c:pt>
                <c:pt idx="1073">
                  <c:v>41642</c:v>
                </c:pt>
                <c:pt idx="1074">
                  <c:v>41645</c:v>
                </c:pt>
                <c:pt idx="1075">
                  <c:v>41646</c:v>
                </c:pt>
                <c:pt idx="1076">
                  <c:v>41647</c:v>
                </c:pt>
                <c:pt idx="1077">
                  <c:v>41648</c:v>
                </c:pt>
                <c:pt idx="1078">
                  <c:v>41649</c:v>
                </c:pt>
                <c:pt idx="1079">
                  <c:v>41652</c:v>
                </c:pt>
                <c:pt idx="1080">
                  <c:v>41653</c:v>
                </c:pt>
                <c:pt idx="1081">
                  <c:v>41654</c:v>
                </c:pt>
                <c:pt idx="1082">
                  <c:v>41655</c:v>
                </c:pt>
                <c:pt idx="1083">
                  <c:v>41656</c:v>
                </c:pt>
                <c:pt idx="1084">
                  <c:v>41659</c:v>
                </c:pt>
                <c:pt idx="1085">
                  <c:v>41660</c:v>
                </c:pt>
                <c:pt idx="1086">
                  <c:v>41661</c:v>
                </c:pt>
                <c:pt idx="1087">
                  <c:v>41662</c:v>
                </c:pt>
                <c:pt idx="1088">
                  <c:v>41663</c:v>
                </c:pt>
                <c:pt idx="1089">
                  <c:v>41666</c:v>
                </c:pt>
                <c:pt idx="1090">
                  <c:v>41667</c:v>
                </c:pt>
                <c:pt idx="1091">
                  <c:v>41668</c:v>
                </c:pt>
                <c:pt idx="1092">
                  <c:v>41669</c:v>
                </c:pt>
                <c:pt idx="1093">
                  <c:v>41670</c:v>
                </c:pt>
                <c:pt idx="1094">
                  <c:v>41673</c:v>
                </c:pt>
                <c:pt idx="1095">
                  <c:v>41674</c:v>
                </c:pt>
                <c:pt idx="1096">
                  <c:v>41675</c:v>
                </c:pt>
                <c:pt idx="1097">
                  <c:v>41676</c:v>
                </c:pt>
                <c:pt idx="1098">
                  <c:v>41677</c:v>
                </c:pt>
                <c:pt idx="1099">
                  <c:v>41680</c:v>
                </c:pt>
                <c:pt idx="1100">
                  <c:v>41681</c:v>
                </c:pt>
                <c:pt idx="1101">
                  <c:v>41682</c:v>
                </c:pt>
                <c:pt idx="1102">
                  <c:v>41683</c:v>
                </c:pt>
                <c:pt idx="1103">
                  <c:v>41684</c:v>
                </c:pt>
                <c:pt idx="1104">
                  <c:v>41687</c:v>
                </c:pt>
                <c:pt idx="1105">
                  <c:v>41688</c:v>
                </c:pt>
                <c:pt idx="1106">
                  <c:v>41689</c:v>
                </c:pt>
                <c:pt idx="1107">
                  <c:v>41690</c:v>
                </c:pt>
                <c:pt idx="1108">
                  <c:v>41691</c:v>
                </c:pt>
                <c:pt idx="1109">
                  <c:v>41694</c:v>
                </c:pt>
                <c:pt idx="1110">
                  <c:v>41695</c:v>
                </c:pt>
                <c:pt idx="1111">
                  <c:v>41696</c:v>
                </c:pt>
                <c:pt idx="1112">
                  <c:v>41697</c:v>
                </c:pt>
                <c:pt idx="1113">
                  <c:v>41698</c:v>
                </c:pt>
                <c:pt idx="1114">
                  <c:v>41701</c:v>
                </c:pt>
                <c:pt idx="1115">
                  <c:v>41702</c:v>
                </c:pt>
                <c:pt idx="1116">
                  <c:v>41703</c:v>
                </c:pt>
                <c:pt idx="1117">
                  <c:v>41704</c:v>
                </c:pt>
                <c:pt idx="1118">
                  <c:v>41705</c:v>
                </c:pt>
                <c:pt idx="1119">
                  <c:v>41708</c:v>
                </c:pt>
                <c:pt idx="1120">
                  <c:v>41709</c:v>
                </c:pt>
                <c:pt idx="1121">
                  <c:v>41710</c:v>
                </c:pt>
                <c:pt idx="1122">
                  <c:v>41711</c:v>
                </c:pt>
                <c:pt idx="1123">
                  <c:v>41712</c:v>
                </c:pt>
                <c:pt idx="1124">
                  <c:v>41715</c:v>
                </c:pt>
                <c:pt idx="1125">
                  <c:v>41716</c:v>
                </c:pt>
                <c:pt idx="1126">
                  <c:v>41717</c:v>
                </c:pt>
                <c:pt idx="1127">
                  <c:v>41718</c:v>
                </c:pt>
                <c:pt idx="1128">
                  <c:v>41719</c:v>
                </c:pt>
                <c:pt idx="1129">
                  <c:v>41722</c:v>
                </c:pt>
                <c:pt idx="1130">
                  <c:v>41723</c:v>
                </c:pt>
                <c:pt idx="1131">
                  <c:v>41724</c:v>
                </c:pt>
                <c:pt idx="1132">
                  <c:v>41725</c:v>
                </c:pt>
                <c:pt idx="1133">
                  <c:v>41726</c:v>
                </c:pt>
                <c:pt idx="1134">
                  <c:v>41729</c:v>
                </c:pt>
                <c:pt idx="1135">
                  <c:v>41730</c:v>
                </c:pt>
                <c:pt idx="1136">
                  <c:v>41731</c:v>
                </c:pt>
                <c:pt idx="1137">
                  <c:v>41732</c:v>
                </c:pt>
                <c:pt idx="1138">
                  <c:v>41733</c:v>
                </c:pt>
                <c:pt idx="1139">
                  <c:v>41736</c:v>
                </c:pt>
                <c:pt idx="1140">
                  <c:v>41737</c:v>
                </c:pt>
                <c:pt idx="1141">
                  <c:v>41738</c:v>
                </c:pt>
                <c:pt idx="1142">
                  <c:v>41739</c:v>
                </c:pt>
                <c:pt idx="1143">
                  <c:v>41740</c:v>
                </c:pt>
                <c:pt idx="1144">
                  <c:v>41743</c:v>
                </c:pt>
                <c:pt idx="1145">
                  <c:v>41744</c:v>
                </c:pt>
                <c:pt idx="1146">
                  <c:v>41745</c:v>
                </c:pt>
                <c:pt idx="1147">
                  <c:v>41746</c:v>
                </c:pt>
                <c:pt idx="1148">
                  <c:v>41751</c:v>
                </c:pt>
                <c:pt idx="1149">
                  <c:v>41752</c:v>
                </c:pt>
                <c:pt idx="1150">
                  <c:v>41753</c:v>
                </c:pt>
                <c:pt idx="1151">
                  <c:v>41754</c:v>
                </c:pt>
                <c:pt idx="1152">
                  <c:v>41757</c:v>
                </c:pt>
                <c:pt idx="1153">
                  <c:v>41758</c:v>
                </c:pt>
                <c:pt idx="1154">
                  <c:v>41759</c:v>
                </c:pt>
                <c:pt idx="1155">
                  <c:v>41760</c:v>
                </c:pt>
                <c:pt idx="1156">
                  <c:v>41761</c:v>
                </c:pt>
                <c:pt idx="1157">
                  <c:v>41764</c:v>
                </c:pt>
                <c:pt idx="1158">
                  <c:v>41765</c:v>
                </c:pt>
                <c:pt idx="1159">
                  <c:v>41766</c:v>
                </c:pt>
                <c:pt idx="1160">
                  <c:v>41767</c:v>
                </c:pt>
                <c:pt idx="1161">
                  <c:v>41768</c:v>
                </c:pt>
                <c:pt idx="1162">
                  <c:v>41771</c:v>
                </c:pt>
                <c:pt idx="1163">
                  <c:v>41772</c:v>
                </c:pt>
                <c:pt idx="1164">
                  <c:v>41773</c:v>
                </c:pt>
                <c:pt idx="1165">
                  <c:v>41774</c:v>
                </c:pt>
                <c:pt idx="1166">
                  <c:v>41775</c:v>
                </c:pt>
                <c:pt idx="1167">
                  <c:v>41778</c:v>
                </c:pt>
                <c:pt idx="1168">
                  <c:v>41779</c:v>
                </c:pt>
                <c:pt idx="1169">
                  <c:v>41780</c:v>
                </c:pt>
                <c:pt idx="1170">
                  <c:v>41781</c:v>
                </c:pt>
                <c:pt idx="1171">
                  <c:v>41782</c:v>
                </c:pt>
                <c:pt idx="1172">
                  <c:v>41785</c:v>
                </c:pt>
                <c:pt idx="1173">
                  <c:v>41786</c:v>
                </c:pt>
                <c:pt idx="1174">
                  <c:v>41787</c:v>
                </c:pt>
                <c:pt idx="1175">
                  <c:v>41788</c:v>
                </c:pt>
                <c:pt idx="1176">
                  <c:v>41789</c:v>
                </c:pt>
                <c:pt idx="1177">
                  <c:v>41792</c:v>
                </c:pt>
                <c:pt idx="1178">
                  <c:v>41793</c:v>
                </c:pt>
                <c:pt idx="1179">
                  <c:v>41794</c:v>
                </c:pt>
                <c:pt idx="1180">
                  <c:v>41795</c:v>
                </c:pt>
                <c:pt idx="1181">
                  <c:v>41796</c:v>
                </c:pt>
                <c:pt idx="1182">
                  <c:v>41799</c:v>
                </c:pt>
                <c:pt idx="1183">
                  <c:v>41800</c:v>
                </c:pt>
                <c:pt idx="1184">
                  <c:v>41801</c:v>
                </c:pt>
                <c:pt idx="1185">
                  <c:v>41802</c:v>
                </c:pt>
                <c:pt idx="1186">
                  <c:v>41803</c:v>
                </c:pt>
                <c:pt idx="1187">
                  <c:v>41806</c:v>
                </c:pt>
                <c:pt idx="1188">
                  <c:v>41807</c:v>
                </c:pt>
                <c:pt idx="1189">
                  <c:v>41808</c:v>
                </c:pt>
                <c:pt idx="1190">
                  <c:v>41809</c:v>
                </c:pt>
                <c:pt idx="1191">
                  <c:v>41810</c:v>
                </c:pt>
                <c:pt idx="1192">
                  <c:v>41813</c:v>
                </c:pt>
                <c:pt idx="1193">
                  <c:v>41814</c:v>
                </c:pt>
                <c:pt idx="1194">
                  <c:v>41815</c:v>
                </c:pt>
                <c:pt idx="1195">
                  <c:v>41816</c:v>
                </c:pt>
                <c:pt idx="1196">
                  <c:v>41817</c:v>
                </c:pt>
                <c:pt idx="1197">
                  <c:v>41820</c:v>
                </c:pt>
                <c:pt idx="1198">
                  <c:v>41821</c:v>
                </c:pt>
                <c:pt idx="1199">
                  <c:v>41822</c:v>
                </c:pt>
                <c:pt idx="1200">
                  <c:v>41823</c:v>
                </c:pt>
                <c:pt idx="1201">
                  <c:v>41824</c:v>
                </c:pt>
                <c:pt idx="1202">
                  <c:v>41827</c:v>
                </c:pt>
                <c:pt idx="1203">
                  <c:v>41828</c:v>
                </c:pt>
                <c:pt idx="1204">
                  <c:v>41829</c:v>
                </c:pt>
                <c:pt idx="1205">
                  <c:v>41830</c:v>
                </c:pt>
                <c:pt idx="1206">
                  <c:v>41831</c:v>
                </c:pt>
                <c:pt idx="1207">
                  <c:v>41834</c:v>
                </c:pt>
                <c:pt idx="1208">
                  <c:v>41835</c:v>
                </c:pt>
                <c:pt idx="1209">
                  <c:v>41836</c:v>
                </c:pt>
                <c:pt idx="1210">
                  <c:v>41837</c:v>
                </c:pt>
                <c:pt idx="1211">
                  <c:v>41838</c:v>
                </c:pt>
                <c:pt idx="1212">
                  <c:v>41841</c:v>
                </c:pt>
                <c:pt idx="1213">
                  <c:v>41842</c:v>
                </c:pt>
                <c:pt idx="1214">
                  <c:v>41843</c:v>
                </c:pt>
                <c:pt idx="1215">
                  <c:v>41844</c:v>
                </c:pt>
                <c:pt idx="1216">
                  <c:v>41845</c:v>
                </c:pt>
                <c:pt idx="1217">
                  <c:v>41848</c:v>
                </c:pt>
                <c:pt idx="1218">
                  <c:v>41849</c:v>
                </c:pt>
                <c:pt idx="1219">
                  <c:v>41850</c:v>
                </c:pt>
                <c:pt idx="1220">
                  <c:v>41851</c:v>
                </c:pt>
                <c:pt idx="1221">
                  <c:v>41852</c:v>
                </c:pt>
                <c:pt idx="1222">
                  <c:v>41855</c:v>
                </c:pt>
                <c:pt idx="1223">
                  <c:v>41856</c:v>
                </c:pt>
                <c:pt idx="1224">
                  <c:v>41857</c:v>
                </c:pt>
                <c:pt idx="1225">
                  <c:v>41858</c:v>
                </c:pt>
                <c:pt idx="1226">
                  <c:v>41859</c:v>
                </c:pt>
                <c:pt idx="1227">
                  <c:v>41862</c:v>
                </c:pt>
                <c:pt idx="1228">
                  <c:v>41863</c:v>
                </c:pt>
                <c:pt idx="1229">
                  <c:v>41864</c:v>
                </c:pt>
                <c:pt idx="1230">
                  <c:v>41865</c:v>
                </c:pt>
                <c:pt idx="1231">
                  <c:v>41866</c:v>
                </c:pt>
                <c:pt idx="1232">
                  <c:v>41869</c:v>
                </c:pt>
                <c:pt idx="1233">
                  <c:v>41870</c:v>
                </c:pt>
                <c:pt idx="1234">
                  <c:v>41871</c:v>
                </c:pt>
                <c:pt idx="1235">
                  <c:v>41872</c:v>
                </c:pt>
                <c:pt idx="1236">
                  <c:v>41873</c:v>
                </c:pt>
                <c:pt idx="1237">
                  <c:v>41876</c:v>
                </c:pt>
                <c:pt idx="1238">
                  <c:v>41877</c:v>
                </c:pt>
                <c:pt idx="1239">
                  <c:v>41878</c:v>
                </c:pt>
                <c:pt idx="1240">
                  <c:v>41879</c:v>
                </c:pt>
                <c:pt idx="1241">
                  <c:v>41880</c:v>
                </c:pt>
                <c:pt idx="1242">
                  <c:v>41883</c:v>
                </c:pt>
                <c:pt idx="1243">
                  <c:v>41884</c:v>
                </c:pt>
                <c:pt idx="1244">
                  <c:v>41885</c:v>
                </c:pt>
                <c:pt idx="1245">
                  <c:v>41886</c:v>
                </c:pt>
              </c:numCache>
            </c:numRef>
          </c:cat>
          <c:val>
            <c:numRef>
              <c:f>Sheet1!$B$2:$B$1247</c:f>
              <c:numCache>
                <c:formatCode>General</c:formatCode>
                <c:ptCount val="1246"/>
                <c:pt idx="0">
                  <c:v>100</c:v>
                </c:pt>
                <c:pt idx="1">
                  <c:v>99.773127322511243</c:v>
                </c:pt>
                <c:pt idx="2">
                  <c:v>99.651867787991392</c:v>
                </c:pt>
                <c:pt idx="3">
                  <c:v>101.29082730295325</c:v>
                </c:pt>
                <c:pt idx="4">
                  <c:v>101.37688245648349</c:v>
                </c:pt>
                <c:pt idx="5">
                  <c:v>101.82671621357325</c:v>
                </c:pt>
                <c:pt idx="6">
                  <c:v>103.21142186583219</c:v>
                </c:pt>
                <c:pt idx="7">
                  <c:v>103.20359867005671</c:v>
                </c:pt>
                <c:pt idx="8">
                  <c:v>103.34832779190297</c:v>
                </c:pt>
                <c:pt idx="9">
                  <c:v>103.91159788773714</c:v>
                </c:pt>
                <c:pt idx="10">
                  <c:v>104.88167416389595</c:v>
                </c:pt>
                <c:pt idx="11">
                  <c:v>105.81654605906512</c:v>
                </c:pt>
                <c:pt idx="12">
                  <c:v>105.97692157246235</c:v>
                </c:pt>
                <c:pt idx="13">
                  <c:v>105.57793858791318</c:v>
                </c:pt>
                <c:pt idx="14">
                  <c:v>104.01721103070605</c:v>
                </c:pt>
                <c:pt idx="15">
                  <c:v>103.32094660668882</c:v>
                </c:pt>
                <c:pt idx="16">
                  <c:v>104.66262468218265</c:v>
                </c:pt>
                <c:pt idx="17">
                  <c:v>104.26755329552122</c:v>
                </c:pt>
                <c:pt idx="18">
                  <c:v>104.3927244279288</c:v>
                </c:pt>
                <c:pt idx="19">
                  <c:v>101.82671621357325</c:v>
                </c:pt>
                <c:pt idx="20">
                  <c:v>102.37433991785645</c:v>
                </c:pt>
                <c:pt idx="21">
                  <c:v>100.90749070995501</c:v>
                </c:pt>
                <c:pt idx="22">
                  <c:v>103.71992959123804</c:v>
                </c:pt>
                <c:pt idx="23">
                  <c:v>104.37707803637785</c:v>
                </c:pt>
                <c:pt idx="24">
                  <c:v>103.80989634265596</c:v>
                </c:pt>
                <c:pt idx="25">
                  <c:v>105.37844709563855</c:v>
                </c:pt>
                <c:pt idx="26">
                  <c:v>104.93252493643652</c:v>
                </c:pt>
                <c:pt idx="27">
                  <c:v>103.61822804615683</c:v>
                </c:pt>
                <c:pt idx="28">
                  <c:v>102.18658321924505</c:v>
                </c:pt>
                <c:pt idx="29">
                  <c:v>103.37962057500489</c:v>
                </c:pt>
                <c:pt idx="30">
                  <c:v>104.13455896733817</c:v>
                </c:pt>
                <c:pt idx="31">
                  <c:v>104.99119890475259</c:v>
                </c:pt>
                <c:pt idx="32">
                  <c:v>105.37844709563855</c:v>
                </c:pt>
                <c:pt idx="33">
                  <c:v>106.51672208097007</c:v>
                </c:pt>
                <c:pt idx="34">
                  <c:v>105.13983962448661</c:v>
                </c:pt>
                <c:pt idx="35">
                  <c:v>104.86211617445727</c:v>
                </c:pt>
                <c:pt idx="36">
                  <c:v>106.05124193232936</c:v>
                </c:pt>
                <c:pt idx="37">
                  <c:v>106.77879913944848</c:v>
                </c:pt>
                <c:pt idx="38">
                  <c:v>106.93917465284568</c:v>
                </c:pt>
                <c:pt idx="39">
                  <c:v>106.77097594367298</c:v>
                </c:pt>
                <c:pt idx="40">
                  <c:v>107.06043418736553</c:v>
                </c:pt>
                <c:pt idx="41">
                  <c:v>107.66282026207705</c:v>
                </c:pt>
                <c:pt idx="42">
                  <c:v>107.90142773322904</c:v>
                </c:pt>
                <c:pt idx="43">
                  <c:v>108.34734989243107</c:v>
                </c:pt>
                <c:pt idx="44">
                  <c:v>109.20790142773322</c:v>
                </c:pt>
                <c:pt idx="45">
                  <c:v>109.09837668687659</c:v>
                </c:pt>
                <c:pt idx="46">
                  <c:v>109.39565812634461</c:v>
                </c:pt>
                <c:pt idx="47">
                  <c:v>109.05143751222374</c:v>
                </c:pt>
                <c:pt idx="48">
                  <c:v>109.6890279679249</c:v>
                </c:pt>
                <c:pt idx="49">
                  <c:v>109.83766868765892</c:v>
                </c:pt>
                <c:pt idx="50">
                  <c:v>108.99667514179541</c:v>
                </c:pt>
                <c:pt idx="51">
                  <c:v>109.71249755525132</c:v>
                </c:pt>
                <c:pt idx="52">
                  <c:v>110.50655192646195</c:v>
                </c:pt>
                <c:pt idx="53">
                  <c:v>110.14277332290239</c:v>
                </c:pt>
                <c:pt idx="54">
                  <c:v>110.98767846665363</c:v>
                </c:pt>
                <c:pt idx="55">
                  <c:v>112.80265988656366</c:v>
                </c:pt>
                <c:pt idx="56">
                  <c:v>112.06727948366908</c:v>
                </c:pt>
                <c:pt idx="57">
                  <c:v>111.01505965186777</c:v>
                </c:pt>
                <c:pt idx="58">
                  <c:v>109.47389008409935</c:v>
                </c:pt>
                <c:pt idx="59">
                  <c:v>109.77899471934285</c:v>
                </c:pt>
                <c:pt idx="60">
                  <c:v>110.4791707412478</c:v>
                </c:pt>
                <c:pt idx="61">
                  <c:v>110.2914140426364</c:v>
                </c:pt>
                <c:pt idx="62">
                  <c:v>109.78681791511833</c:v>
                </c:pt>
                <c:pt idx="63">
                  <c:v>110.0684529630354</c:v>
                </c:pt>
                <c:pt idx="64">
                  <c:v>110.11930373557597</c:v>
                </c:pt>
                <c:pt idx="65">
                  <c:v>111.26540191668295</c:v>
                </c:pt>
                <c:pt idx="66">
                  <c:v>111.21846274203011</c:v>
                </c:pt>
                <c:pt idx="67">
                  <c:v>108.81283004107178</c:v>
                </c:pt>
                <c:pt idx="68">
                  <c:v>106.993937023274</c:v>
                </c:pt>
                <c:pt idx="69">
                  <c:v>107.42030119303736</c:v>
                </c:pt>
                <c:pt idx="70">
                  <c:v>107.09955016624291</c:v>
                </c:pt>
                <c:pt idx="71">
                  <c:v>107.93272051633092</c:v>
                </c:pt>
                <c:pt idx="72">
                  <c:v>108.37473107764521</c:v>
                </c:pt>
                <c:pt idx="73">
                  <c:v>108.10483082339135</c:v>
                </c:pt>
                <c:pt idx="74">
                  <c:v>108.34734989243107</c:v>
                </c:pt>
                <c:pt idx="75">
                  <c:v>108.5194601994915</c:v>
                </c:pt>
                <c:pt idx="76">
                  <c:v>110.07236456092313</c:v>
                </c:pt>
                <c:pt idx="77">
                  <c:v>110.53393311167612</c:v>
                </c:pt>
                <c:pt idx="78">
                  <c:v>111.25757872090749</c:v>
                </c:pt>
                <c:pt idx="79">
                  <c:v>110.9642088793272</c:v>
                </c:pt>
                <c:pt idx="80">
                  <c:v>110.11148053980051</c:v>
                </c:pt>
                <c:pt idx="81">
                  <c:v>109.84549188343438</c:v>
                </c:pt>
                <c:pt idx="82">
                  <c:v>108.33561509876783</c:v>
                </c:pt>
                <c:pt idx="83">
                  <c:v>109.32133776647761</c:v>
                </c:pt>
                <c:pt idx="84">
                  <c:v>110.33444161940152</c:v>
                </c:pt>
                <c:pt idx="85">
                  <c:v>111.07373362018384</c:v>
                </c:pt>
                <c:pt idx="86">
                  <c:v>111.84823000195581</c:v>
                </c:pt>
                <c:pt idx="87">
                  <c:v>112.3450029336984</c:v>
                </c:pt>
                <c:pt idx="88">
                  <c:v>113.64365343242713</c:v>
                </c:pt>
                <c:pt idx="89">
                  <c:v>113.25640524154117</c:v>
                </c:pt>
                <c:pt idx="90">
                  <c:v>112.98259338939955</c:v>
                </c:pt>
                <c:pt idx="91">
                  <c:v>113.20164287111282</c:v>
                </c:pt>
                <c:pt idx="92">
                  <c:v>113.67494621552905</c:v>
                </c:pt>
                <c:pt idx="93">
                  <c:v>114.45726579307647</c:v>
                </c:pt>
                <c:pt idx="94">
                  <c:v>113.59671425777431</c:v>
                </c:pt>
                <c:pt idx="95">
                  <c:v>114.33991785644434</c:v>
                </c:pt>
                <c:pt idx="96">
                  <c:v>115.66986113827498</c:v>
                </c:pt>
                <c:pt idx="97">
                  <c:v>115.88891061998825</c:v>
                </c:pt>
                <c:pt idx="98">
                  <c:v>115.21220418540975</c:v>
                </c:pt>
                <c:pt idx="99">
                  <c:v>114.87971836495208</c:v>
                </c:pt>
                <c:pt idx="100">
                  <c:v>115.62292196362213</c:v>
                </c:pt>
                <c:pt idx="101">
                  <c:v>115.49383923332681</c:v>
                </c:pt>
                <c:pt idx="102">
                  <c:v>116.65558380598475</c:v>
                </c:pt>
                <c:pt idx="103">
                  <c:v>116.54214746724037</c:v>
                </c:pt>
                <c:pt idx="104">
                  <c:v>117.21494230393117</c:v>
                </c:pt>
                <c:pt idx="105">
                  <c:v>117.49657735184822</c:v>
                </c:pt>
                <c:pt idx="106">
                  <c:v>117.3870526109916</c:v>
                </c:pt>
                <c:pt idx="107">
                  <c:v>118.77958145902603</c:v>
                </c:pt>
                <c:pt idx="108">
                  <c:v>119.33111676119694</c:v>
                </c:pt>
                <c:pt idx="109">
                  <c:v>119.32329356542148</c:v>
                </c:pt>
                <c:pt idx="110">
                  <c:v>118.5996479561901</c:v>
                </c:pt>
                <c:pt idx="111">
                  <c:v>120.09778994719342</c:v>
                </c:pt>
                <c:pt idx="112">
                  <c:v>120.21122628593781</c:v>
                </c:pt>
                <c:pt idx="113">
                  <c:v>120.08214355564249</c:v>
                </c:pt>
                <c:pt idx="114">
                  <c:v>120.95051828672013</c:v>
                </c:pt>
                <c:pt idx="115">
                  <c:v>121.50205358889106</c:v>
                </c:pt>
                <c:pt idx="116">
                  <c:v>119.92567964013298</c:v>
                </c:pt>
                <c:pt idx="117">
                  <c:v>118.91648738509681</c:v>
                </c:pt>
                <c:pt idx="118">
                  <c:v>120.40680618032466</c:v>
                </c:pt>
                <c:pt idx="119">
                  <c:v>119.98826520633679</c:v>
                </c:pt>
                <c:pt idx="120">
                  <c:v>119.08859769215725</c:v>
                </c:pt>
                <c:pt idx="121">
                  <c:v>119.78486211617445</c:v>
                </c:pt>
                <c:pt idx="122">
                  <c:v>120.14081752395853</c:v>
                </c:pt>
                <c:pt idx="123">
                  <c:v>116.40915313905731</c:v>
                </c:pt>
                <c:pt idx="124">
                  <c:v>115.09876784666535</c:v>
                </c:pt>
                <c:pt idx="125">
                  <c:v>116.91766086446312</c:v>
                </c:pt>
                <c:pt idx="126">
                  <c:v>116.81987091726968</c:v>
                </c:pt>
                <c:pt idx="127">
                  <c:v>117.33229024056327</c:v>
                </c:pt>
                <c:pt idx="128">
                  <c:v>114.78192841775865</c:v>
                </c:pt>
                <c:pt idx="129">
                  <c:v>113.74535497750833</c:v>
                </c:pt>
                <c:pt idx="130">
                  <c:v>112.1220418540974</c:v>
                </c:pt>
                <c:pt idx="131">
                  <c:v>107.62761588108742</c:v>
                </c:pt>
                <c:pt idx="132">
                  <c:v>114.57070213182084</c:v>
                </c:pt>
                <c:pt idx="133">
                  <c:v>114.71151965577937</c:v>
                </c:pt>
                <c:pt idx="134">
                  <c:v>117.60610209270487</c:v>
                </c:pt>
                <c:pt idx="135">
                  <c:v>117.9777038920399</c:v>
                </c:pt>
                <c:pt idx="136">
                  <c:v>114.62155290436142</c:v>
                </c:pt>
                <c:pt idx="137">
                  <c:v>114.53158615294348</c:v>
                </c:pt>
                <c:pt idx="138">
                  <c:v>115.65030314883631</c:v>
                </c:pt>
                <c:pt idx="139">
                  <c:v>112.28241736749463</c:v>
                </c:pt>
                <c:pt idx="140">
                  <c:v>109.9941326031684</c:v>
                </c:pt>
                <c:pt idx="141">
                  <c:v>109.40348132212007</c:v>
                </c:pt>
                <c:pt idx="142">
                  <c:v>109.95892822217877</c:v>
                </c:pt>
                <c:pt idx="143">
                  <c:v>107.48679835712889</c:v>
                </c:pt>
                <c:pt idx="144">
                  <c:v>109.69293956581264</c:v>
                </c:pt>
                <c:pt idx="145">
                  <c:v>112.93956581263447</c:v>
                </c:pt>
                <c:pt idx="146">
                  <c:v>113.18208488167416</c:v>
                </c:pt>
                <c:pt idx="147">
                  <c:v>113.34246039507138</c:v>
                </c:pt>
                <c:pt idx="148">
                  <c:v>114.38685703109721</c:v>
                </c:pt>
                <c:pt idx="149">
                  <c:v>114.74672403676902</c:v>
                </c:pt>
                <c:pt idx="150">
                  <c:v>116.21357324467046</c:v>
                </c:pt>
                <c:pt idx="151">
                  <c:v>114.47682378251515</c:v>
                </c:pt>
                <c:pt idx="152">
                  <c:v>113.72579698806963</c:v>
                </c:pt>
                <c:pt idx="153">
                  <c:v>112.43105808722864</c:v>
                </c:pt>
                <c:pt idx="154">
                  <c:v>114.11304517895562</c:v>
                </c:pt>
                <c:pt idx="155">
                  <c:v>115.99061216506941</c:v>
                </c:pt>
                <c:pt idx="156">
                  <c:v>116.20575004889497</c:v>
                </c:pt>
                <c:pt idx="157">
                  <c:v>117.71171523567376</c:v>
                </c:pt>
                <c:pt idx="158">
                  <c:v>118.75611187169959</c:v>
                </c:pt>
                <c:pt idx="159">
                  <c:v>118.94386857031097</c:v>
                </c:pt>
                <c:pt idx="160">
                  <c:v>118.71308429493448</c:v>
                </c:pt>
                <c:pt idx="161">
                  <c:v>119.10424408370818</c:v>
                </c:pt>
                <c:pt idx="162">
                  <c:v>120.16819870917269</c:v>
                </c:pt>
                <c:pt idx="163">
                  <c:v>120.00391159788775</c:v>
                </c:pt>
                <c:pt idx="164">
                  <c:v>118.98689614707607</c:v>
                </c:pt>
                <c:pt idx="165">
                  <c:v>116.97242323489145</c:v>
                </c:pt>
                <c:pt idx="166">
                  <c:v>115.6072755720712</c:v>
                </c:pt>
                <c:pt idx="167">
                  <c:v>116.68687658908664</c:v>
                </c:pt>
                <c:pt idx="168">
                  <c:v>113.78838255427341</c:v>
                </c:pt>
                <c:pt idx="169">
                  <c:v>112.49364365343241</c:v>
                </c:pt>
                <c:pt idx="170">
                  <c:v>110.80774496381771</c:v>
                </c:pt>
                <c:pt idx="171">
                  <c:v>111.40230784275376</c:v>
                </c:pt>
                <c:pt idx="172">
                  <c:v>112.07901427733226</c:v>
                </c:pt>
                <c:pt idx="173">
                  <c:v>114.55505574026989</c:v>
                </c:pt>
                <c:pt idx="174">
                  <c:v>115.99843536084491</c:v>
                </c:pt>
                <c:pt idx="175">
                  <c:v>116.92548406023862</c:v>
                </c:pt>
                <c:pt idx="176">
                  <c:v>117.41834539409348</c:v>
                </c:pt>
                <c:pt idx="177">
                  <c:v>117.56307451593977</c:v>
                </c:pt>
                <c:pt idx="178">
                  <c:v>119.59319381967535</c:v>
                </c:pt>
                <c:pt idx="179">
                  <c:v>119.31547036964598</c:v>
                </c:pt>
                <c:pt idx="180">
                  <c:v>118.45883043223155</c:v>
                </c:pt>
                <c:pt idx="181">
                  <c:v>116.87072168981028</c:v>
                </c:pt>
                <c:pt idx="182">
                  <c:v>116.06102092704869</c:v>
                </c:pt>
                <c:pt idx="183">
                  <c:v>116.1040485038138</c:v>
                </c:pt>
                <c:pt idx="184">
                  <c:v>117.61001369059261</c:v>
                </c:pt>
                <c:pt idx="185">
                  <c:v>119.47975748093096</c:v>
                </c:pt>
                <c:pt idx="186">
                  <c:v>120.66888323880305</c:v>
                </c:pt>
                <c:pt idx="187">
                  <c:v>121.19694895364755</c:v>
                </c:pt>
                <c:pt idx="188">
                  <c:v>121.47467240367691</c:v>
                </c:pt>
                <c:pt idx="189">
                  <c:v>121.37688245648349</c:v>
                </c:pt>
                <c:pt idx="190">
                  <c:v>121.52552317621748</c:v>
                </c:pt>
                <c:pt idx="191">
                  <c:v>120.46548014864074</c:v>
                </c:pt>
                <c:pt idx="192">
                  <c:v>123.46176413064735</c:v>
                </c:pt>
                <c:pt idx="193">
                  <c:v>124.12673577156268</c:v>
                </c:pt>
                <c:pt idx="194">
                  <c:v>124.51007236456093</c:v>
                </c:pt>
                <c:pt idx="195">
                  <c:v>123.78642675532954</c:v>
                </c:pt>
                <c:pt idx="196">
                  <c:v>122.21396440445922</c:v>
                </c:pt>
                <c:pt idx="197">
                  <c:v>123.78642675532954</c:v>
                </c:pt>
                <c:pt idx="198">
                  <c:v>122.39780950518286</c:v>
                </c:pt>
                <c:pt idx="199">
                  <c:v>120.48112654019165</c:v>
                </c:pt>
                <c:pt idx="200">
                  <c:v>120.074320359867</c:v>
                </c:pt>
                <c:pt idx="201">
                  <c:v>120.67279483669078</c:v>
                </c:pt>
                <c:pt idx="202">
                  <c:v>120.63367885781339</c:v>
                </c:pt>
                <c:pt idx="203">
                  <c:v>122.01838451007237</c:v>
                </c:pt>
                <c:pt idx="204">
                  <c:v>121.69763348327791</c:v>
                </c:pt>
                <c:pt idx="205">
                  <c:v>120.07823195775475</c:v>
                </c:pt>
                <c:pt idx="206">
                  <c:v>119.11206727948367</c:v>
                </c:pt>
                <c:pt idx="207">
                  <c:v>120.03520438098963</c:v>
                </c:pt>
                <c:pt idx="208">
                  <c:v>118.15763739487579</c:v>
                </c:pt>
                <c:pt idx="209">
                  <c:v>117.51222374339918</c:v>
                </c:pt>
                <c:pt idx="210">
                  <c:v>117.87991394484646</c:v>
                </c:pt>
                <c:pt idx="211">
                  <c:v>118.76002346958734</c:v>
                </c:pt>
                <c:pt idx="212">
                  <c:v>118.98689614707607</c:v>
                </c:pt>
                <c:pt idx="213">
                  <c:v>118.45100723645609</c:v>
                </c:pt>
                <c:pt idx="214">
                  <c:v>121.68198709172695</c:v>
                </c:pt>
                <c:pt idx="215">
                  <c:v>122.2530803833366</c:v>
                </c:pt>
                <c:pt idx="216">
                  <c:v>123.03539996088402</c:v>
                </c:pt>
                <c:pt idx="217">
                  <c:v>123.74339917856445</c:v>
                </c:pt>
                <c:pt idx="218">
                  <c:v>122.67162135732448</c:v>
                </c:pt>
                <c:pt idx="219">
                  <c:v>124.42010561314297</c:v>
                </c:pt>
                <c:pt idx="220">
                  <c:v>125.35888910619988</c:v>
                </c:pt>
                <c:pt idx="221">
                  <c:v>125.17895560336396</c:v>
                </c:pt>
                <c:pt idx="222">
                  <c:v>125.52708781537258</c:v>
                </c:pt>
                <c:pt idx="223">
                  <c:v>125.11245843927246</c:v>
                </c:pt>
                <c:pt idx="224">
                  <c:v>125.2650107568942</c:v>
                </c:pt>
                <c:pt idx="225">
                  <c:v>124.31058087228632</c:v>
                </c:pt>
                <c:pt idx="226">
                  <c:v>123.32876980246432</c:v>
                </c:pt>
                <c:pt idx="227">
                  <c:v>124.42792880891844</c:v>
                </c:pt>
                <c:pt idx="228">
                  <c:v>123.99374144337962</c:v>
                </c:pt>
                <c:pt idx="229">
                  <c:v>121.89321337766476</c:v>
                </c:pt>
                <c:pt idx="230">
                  <c:v>122.38216311363192</c:v>
                </c:pt>
                <c:pt idx="231">
                  <c:v>123.18795227850576</c:v>
                </c:pt>
                <c:pt idx="232">
                  <c:v>122.95325640524153</c:v>
                </c:pt>
                <c:pt idx="233">
                  <c:v>122.16702522980638</c:v>
                </c:pt>
                <c:pt idx="234">
                  <c:v>121.7797770389204</c:v>
                </c:pt>
                <c:pt idx="235">
                  <c:v>121.36514766282025</c:v>
                </c:pt>
                <c:pt idx="236">
                  <c:v>121.01310385292392</c:v>
                </c:pt>
                <c:pt idx="237">
                  <c:v>121.0522198318013</c:v>
                </c:pt>
                <c:pt idx="238">
                  <c:v>122.36651672208096</c:v>
                </c:pt>
                <c:pt idx="239">
                  <c:v>123.01584197144533</c:v>
                </c:pt>
                <c:pt idx="240">
                  <c:v>123.63387443770779</c:v>
                </c:pt>
                <c:pt idx="241">
                  <c:v>123.52434969685117</c:v>
                </c:pt>
                <c:pt idx="242">
                  <c:v>124.31058087228632</c:v>
                </c:pt>
                <c:pt idx="243">
                  <c:v>123.36788578134168</c:v>
                </c:pt>
                <c:pt idx="244">
                  <c:v>124.96381771953844</c:v>
                </c:pt>
                <c:pt idx="245">
                  <c:v>124.96772931742616</c:v>
                </c:pt>
                <c:pt idx="246">
                  <c:v>125.11637003716018</c:v>
                </c:pt>
                <c:pt idx="247">
                  <c:v>125.41756307451593</c:v>
                </c:pt>
                <c:pt idx="248">
                  <c:v>124.91687854488561</c:v>
                </c:pt>
                <c:pt idx="249">
                  <c:v>124.85038138079405</c:v>
                </c:pt>
                <c:pt idx="250">
                  <c:v>125.32368472521026</c:v>
                </c:pt>
                <c:pt idx="251">
                  <c:v>125.41365147662819</c:v>
                </c:pt>
                <c:pt idx="252">
                  <c:v>126.1099159006454</c:v>
                </c:pt>
                <c:pt idx="253">
                  <c:v>126.73577156268337</c:v>
                </c:pt>
                <c:pt idx="254">
                  <c:v>125.52708781537258</c:v>
                </c:pt>
                <c:pt idx="255">
                  <c:v>126.87267748875416</c:v>
                </c:pt>
                <c:pt idx="256">
                  <c:v>128.03051046352434</c:v>
                </c:pt>
                <c:pt idx="257">
                  <c:v>128.04615685507531</c:v>
                </c:pt>
                <c:pt idx="258">
                  <c:v>128.27694113045177</c:v>
                </c:pt>
                <c:pt idx="259">
                  <c:v>127.45159397613925</c:v>
                </c:pt>
                <c:pt idx="260">
                  <c:v>128.90279679248974</c:v>
                </c:pt>
                <c:pt idx="261">
                  <c:v>129.15705065519265</c:v>
                </c:pt>
                <c:pt idx="262">
                  <c:v>128.93408957559163</c:v>
                </c:pt>
                <c:pt idx="263">
                  <c:v>130.23665167220807</c:v>
                </c:pt>
                <c:pt idx="264">
                  <c:v>129.48171327987481</c:v>
                </c:pt>
                <c:pt idx="265">
                  <c:v>129.08664189321337</c:v>
                </c:pt>
                <c:pt idx="266">
                  <c:v>128.48816741638959</c:v>
                </c:pt>
                <c:pt idx="267">
                  <c:v>129.86896147076078</c:v>
                </c:pt>
                <c:pt idx="268">
                  <c:v>127.07608057891649</c:v>
                </c:pt>
                <c:pt idx="269">
                  <c:v>127.64326227263835</c:v>
                </c:pt>
                <c:pt idx="270">
                  <c:v>128.84021122628593</c:v>
                </c:pt>
                <c:pt idx="271">
                  <c:v>128.17523958537063</c:v>
                </c:pt>
                <c:pt idx="272">
                  <c:v>126.97829063172306</c:v>
                </c:pt>
                <c:pt idx="273">
                  <c:v>125.56229219636221</c:v>
                </c:pt>
                <c:pt idx="274">
                  <c:v>125.91042440837082</c:v>
                </c:pt>
                <c:pt idx="275">
                  <c:v>126.15685507529825</c:v>
                </c:pt>
                <c:pt idx="276">
                  <c:v>125.70310972032075</c:v>
                </c:pt>
                <c:pt idx="277">
                  <c:v>123.67690201447292</c:v>
                </c:pt>
                <c:pt idx="278">
                  <c:v>123.46958732642284</c:v>
                </c:pt>
                <c:pt idx="279">
                  <c:v>125.50361822804616</c:v>
                </c:pt>
                <c:pt idx="280">
                  <c:v>126.9626442401721</c:v>
                </c:pt>
                <c:pt idx="281">
                  <c:v>126.76706434578524</c:v>
                </c:pt>
                <c:pt idx="282">
                  <c:v>127.33815763739489</c:v>
                </c:pt>
                <c:pt idx="283">
                  <c:v>128.28867592411501</c:v>
                </c:pt>
                <c:pt idx="284">
                  <c:v>129.03187952278506</c:v>
                </c:pt>
                <c:pt idx="285">
                  <c:v>129.80246430666926</c:v>
                </c:pt>
                <c:pt idx="286">
                  <c:v>129.77899471934285</c:v>
                </c:pt>
                <c:pt idx="287">
                  <c:v>129.97066301584198</c:v>
                </c:pt>
                <c:pt idx="288">
                  <c:v>130.09583414824954</c:v>
                </c:pt>
                <c:pt idx="289">
                  <c:v>129.1335810678662</c:v>
                </c:pt>
                <c:pt idx="290">
                  <c:v>129.47389008409937</c:v>
                </c:pt>
                <c:pt idx="291">
                  <c:v>128.39820066497163</c:v>
                </c:pt>
                <c:pt idx="292">
                  <c:v>129.83766868765892</c:v>
                </c:pt>
                <c:pt idx="293">
                  <c:v>130.85468413847053</c:v>
                </c:pt>
                <c:pt idx="294">
                  <c:v>131.02288284764325</c:v>
                </c:pt>
                <c:pt idx="295">
                  <c:v>131.49618619205944</c:v>
                </c:pt>
                <c:pt idx="296">
                  <c:v>131.39839624486603</c:v>
                </c:pt>
                <c:pt idx="297">
                  <c:v>130.342264815177</c:v>
                </c:pt>
                <c:pt idx="298">
                  <c:v>130.58869548210447</c:v>
                </c:pt>
                <c:pt idx="299">
                  <c:v>131.0072364560923</c:v>
                </c:pt>
                <c:pt idx="300">
                  <c:v>129.15705065519265</c:v>
                </c:pt>
                <c:pt idx="301">
                  <c:v>128.82065323684725</c:v>
                </c:pt>
                <c:pt idx="302">
                  <c:v>128.63289653823588</c:v>
                </c:pt>
                <c:pt idx="303">
                  <c:v>129.88460786231175</c:v>
                </c:pt>
                <c:pt idx="304">
                  <c:v>130.01369059260708</c:v>
                </c:pt>
                <c:pt idx="305">
                  <c:v>130.8155681595932</c:v>
                </c:pt>
                <c:pt idx="306">
                  <c:v>130.37355759827889</c:v>
                </c:pt>
                <c:pt idx="307">
                  <c:v>129.56385683551733</c:v>
                </c:pt>
                <c:pt idx="308">
                  <c:v>131.1519655779386</c:v>
                </c:pt>
                <c:pt idx="309">
                  <c:v>132.75572071191078</c:v>
                </c:pt>
                <c:pt idx="310">
                  <c:v>131.54703696460004</c:v>
                </c:pt>
                <c:pt idx="311">
                  <c:v>131.47662820262076</c:v>
                </c:pt>
                <c:pt idx="312">
                  <c:v>132.46626246821828</c:v>
                </c:pt>
                <c:pt idx="313">
                  <c:v>133.42851554860161</c:v>
                </c:pt>
                <c:pt idx="314">
                  <c:v>131.85214159984352</c:v>
                </c:pt>
                <c:pt idx="315">
                  <c:v>130.3344416194015</c:v>
                </c:pt>
                <c:pt idx="316">
                  <c:v>131.12067279483668</c:v>
                </c:pt>
                <c:pt idx="317">
                  <c:v>131.59006454136514</c:v>
                </c:pt>
                <c:pt idx="318">
                  <c:v>130.76471738705263</c:v>
                </c:pt>
                <c:pt idx="319">
                  <c:v>132.00078231957752</c:v>
                </c:pt>
                <c:pt idx="320">
                  <c:v>132.25112458439273</c:v>
                </c:pt>
                <c:pt idx="321">
                  <c:v>131.21063954625464</c:v>
                </c:pt>
                <c:pt idx="322">
                  <c:v>130.99159006454136</c:v>
                </c:pt>
                <c:pt idx="323">
                  <c:v>132.31762174848424</c:v>
                </c:pt>
                <c:pt idx="324">
                  <c:v>133.20946606688833</c:v>
                </c:pt>
                <c:pt idx="325">
                  <c:v>133.50674750635633</c:v>
                </c:pt>
                <c:pt idx="326">
                  <c:v>134.02699002542536</c:v>
                </c:pt>
                <c:pt idx="327">
                  <c:v>135.71288871504009</c:v>
                </c:pt>
                <c:pt idx="328">
                  <c:v>135.25523176217484</c:v>
                </c:pt>
                <c:pt idx="329">
                  <c:v>134.35947584588303</c:v>
                </c:pt>
                <c:pt idx="330">
                  <c:v>133.8900840993546</c:v>
                </c:pt>
                <c:pt idx="331">
                  <c:v>134.76237042831997</c:v>
                </c:pt>
                <c:pt idx="332">
                  <c:v>135.45863485233718</c:v>
                </c:pt>
                <c:pt idx="333">
                  <c:v>135.29043614316447</c:v>
                </c:pt>
                <c:pt idx="334">
                  <c:v>135.8615294347741</c:v>
                </c:pt>
                <c:pt idx="335">
                  <c:v>136.2957168003129</c:v>
                </c:pt>
                <c:pt idx="336">
                  <c:v>136.98415802855465</c:v>
                </c:pt>
                <c:pt idx="337">
                  <c:v>135.16526501075688</c:v>
                </c:pt>
                <c:pt idx="338">
                  <c:v>134.11304517895562</c:v>
                </c:pt>
                <c:pt idx="339">
                  <c:v>132.59925679640133</c:v>
                </c:pt>
                <c:pt idx="340">
                  <c:v>131.88734598083317</c:v>
                </c:pt>
                <c:pt idx="341">
                  <c:v>133.70623899863094</c:v>
                </c:pt>
                <c:pt idx="342">
                  <c:v>134.80539800508507</c:v>
                </c:pt>
                <c:pt idx="343">
                  <c:v>134.15216115783298</c:v>
                </c:pt>
                <c:pt idx="344">
                  <c:v>133.21337766477606</c:v>
                </c:pt>
                <c:pt idx="345">
                  <c:v>133.5536866810092</c:v>
                </c:pt>
                <c:pt idx="346">
                  <c:v>132.88871504009387</c:v>
                </c:pt>
                <c:pt idx="347">
                  <c:v>132.40367690201447</c:v>
                </c:pt>
                <c:pt idx="348">
                  <c:v>132.96694699784862</c:v>
                </c:pt>
                <c:pt idx="349">
                  <c:v>133.61627224721298</c:v>
                </c:pt>
                <c:pt idx="350">
                  <c:v>131.5431253667123</c:v>
                </c:pt>
                <c:pt idx="351">
                  <c:v>130.27185605319772</c:v>
                </c:pt>
                <c:pt idx="352">
                  <c:v>128.87932720516332</c:v>
                </c:pt>
                <c:pt idx="353">
                  <c:v>126.38763935067476</c:v>
                </c:pt>
                <c:pt idx="354">
                  <c:v>124.98337570897711</c:v>
                </c:pt>
                <c:pt idx="355">
                  <c:v>127.06825738314103</c:v>
                </c:pt>
                <c:pt idx="356">
                  <c:v>127.34989243105808</c:v>
                </c:pt>
                <c:pt idx="357">
                  <c:v>129.66555838059847</c:v>
                </c:pt>
                <c:pt idx="358">
                  <c:v>129.14531586152944</c:v>
                </c:pt>
                <c:pt idx="359">
                  <c:v>129.72814394680225</c:v>
                </c:pt>
                <c:pt idx="360">
                  <c:v>129.50127126931349</c:v>
                </c:pt>
                <c:pt idx="361">
                  <c:v>129.54429884607862</c:v>
                </c:pt>
                <c:pt idx="362">
                  <c:v>129.75943672990417</c:v>
                </c:pt>
                <c:pt idx="363">
                  <c:v>129.46215529043613</c:v>
                </c:pt>
                <c:pt idx="364">
                  <c:v>130.05280657148447</c:v>
                </c:pt>
                <c:pt idx="365">
                  <c:v>129.35654214746722</c:v>
                </c:pt>
                <c:pt idx="366">
                  <c:v>131.0502640328574</c:v>
                </c:pt>
                <c:pt idx="367">
                  <c:v>131.09720320751026</c:v>
                </c:pt>
                <c:pt idx="368">
                  <c:v>131.14805398005083</c:v>
                </c:pt>
                <c:pt idx="369">
                  <c:v>131.43751222374337</c:v>
                </c:pt>
                <c:pt idx="370">
                  <c:v>130.95638568355176</c:v>
                </c:pt>
                <c:pt idx="371">
                  <c:v>131.35536866810091</c:v>
                </c:pt>
                <c:pt idx="372">
                  <c:v>131.27713671034618</c:v>
                </c:pt>
                <c:pt idx="373">
                  <c:v>129.9002542538627</c:v>
                </c:pt>
                <c:pt idx="374">
                  <c:v>130.95638568355176</c:v>
                </c:pt>
                <c:pt idx="375">
                  <c:v>129.97848621161745</c:v>
                </c:pt>
                <c:pt idx="376">
                  <c:v>130.17797770389203</c:v>
                </c:pt>
                <c:pt idx="377">
                  <c:v>128.64071973401136</c:v>
                </c:pt>
                <c:pt idx="378">
                  <c:v>128.55857617836887</c:v>
                </c:pt>
                <c:pt idx="379">
                  <c:v>130.07627615881088</c:v>
                </c:pt>
                <c:pt idx="380">
                  <c:v>130.21709368276939</c:v>
                </c:pt>
                <c:pt idx="381">
                  <c:v>130.88597692157248</c:v>
                </c:pt>
                <c:pt idx="382">
                  <c:v>131.13240758849992</c:v>
                </c:pt>
                <c:pt idx="383">
                  <c:v>132.35673772736163</c:v>
                </c:pt>
                <c:pt idx="384">
                  <c:v>132.58752200273813</c:v>
                </c:pt>
                <c:pt idx="385">
                  <c:v>132.84177586544104</c:v>
                </c:pt>
                <c:pt idx="386">
                  <c:v>132.15724623508706</c:v>
                </c:pt>
                <c:pt idx="387">
                  <c:v>131.59397613925287</c:v>
                </c:pt>
                <c:pt idx="388">
                  <c:v>131.73479366321141</c:v>
                </c:pt>
                <c:pt idx="389">
                  <c:v>132.72051633092119</c:v>
                </c:pt>
                <c:pt idx="390">
                  <c:v>132.46235087033051</c:v>
                </c:pt>
                <c:pt idx="391">
                  <c:v>133.47154312536671</c:v>
                </c:pt>
                <c:pt idx="392">
                  <c:v>134.45726579307646</c:v>
                </c:pt>
                <c:pt idx="393">
                  <c:v>133.52630549579501</c:v>
                </c:pt>
                <c:pt idx="394">
                  <c:v>132.77136710346176</c:v>
                </c:pt>
                <c:pt idx="395">
                  <c:v>132.23547819284178</c:v>
                </c:pt>
                <c:pt idx="396">
                  <c:v>131.28104830823389</c:v>
                </c:pt>
                <c:pt idx="397">
                  <c:v>131.31625268922355</c:v>
                </c:pt>
                <c:pt idx="398">
                  <c:v>131.80911402307845</c:v>
                </c:pt>
                <c:pt idx="399">
                  <c:v>131.75044005476238</c:v>
                </c:pt>
                <c:pt idx="400">
                  <c:v>130.25620966164678</c:v>
                </c:pt>
                <c:pt idx="401">
                  <c:v>130.21318208488165</c:v>
                </c:pt>
                <c:pt idx="402">
                  <c:v>129.9432818306278</c:v>
                </c:pt>
                <c:pt idx="403">
                  <c:v>130.07627615881088</c:v>
                </c:pt>
                <c:pt idx="404">
                  <c:v>130.45178955603362</c:v>
                </c:pt>
                <c:pt idx="405">
                  <c:v>130.18971249755523</c:v>
                </c:pt>
                <c:pt idx="406">
                  <c:v>131.19108155681596</c:v>
                </c:pt>
                <c:pt idx="407">
                  <c:v>130.59651867787991</c:v>
                </c:pt>
                <c:pt idx="408">
                  <c:v>129.52474085663994</c:v>
                </c:pt>
                <c:pt idx="409">
                  <c:v>129.10619988265205</c:v>
                </c:pt>
                <c:pt idx="410">
                  <c:v>128.28476432622728</c:v>
                </c:pt>
                <c:pt idx="411">
                  <c:v>128.39428906708389</c:v>
                </c:pt>
                <c:pt idx="412">
                  <c:v>127.21298650498728</c:v>
                </c:pt>
                <c:pt idx="413">
                  <c:v>127.54547232544493</c:v>
                </c:pt>
                <c:pt idx="414">
                  <c:v>126.1725014668492</c:v>
                </c:pt>
                <c:pt idx="415">
                  <c:v>126.36025816546059</c:v>
                </c:pt>
                <c:pt idx="416">
                  <c:v>127.26383727752788</c:v>
                </c:pt>
                <c:pt idx="417">
                  <c:v>125.77351848230003</c:v>
                </c:pt>
                <c:pt idx="418">
                  <c:v>125.03813807940544</c:v>
                </c:pt>
                <c:pt idx="419">
                  <c:v>125.27674555055739</c:v>
                </c:pt>
                <c:pt idx="420">
                  <c:v>123.93506747506355</c:v>
                </c:pt>
                <c:pt idx="421">
                  <c:v>125.08507725405826</c:v>
                </c:pt>
                <c:pt idx="422">
                  <c:v>124.94817132798748</c:v>
                </c:pt>
                <c:pt idx="423">
                  <c:v>123.68472521024839</c:v>
                </c:pt>
                <c:pt idx="424">
                  <c:v>123.41873655388224</c:v>
                </c:pt>
                <c:pt idx="425">
                  <c:v>123.73948758067669</c:v>
                </c:pt>
                <c:pt idx="426">
                  <c:v>124.24799530608253</c:v>
                </c:pt>
                <c:pt idx="427">
                  <c:v>126.72012517113241</c:v>
                </c:pt>
                <c:pt idx="428">
                  <c:v>128.34734989243105</c:v>
                </c:pt>
                <c:pt idx="429">
                  <c:v>129.55603363974183</c:v>
                </c:pt>
                <c:pt idx="430">
                  <c:v>130.04107177782123</c:v>
                </c:pt>
                <c:pt idx="431">
                  <c:v>130.47134754547233</c:v>
                </c:pt>
                <c:pt idx="432">
                  <c:v>130.02151378838255</c:v>
                </c:pt>
                <c:pt idx="433">
                  <c:v>130.5730490905535</c:v>
                </c:pt>
                <c:pt idx="434">
                  <c:v>130.23274007432036</c:v>
                </c:pt>
                <c:pt idx="435">
                  <c:v>128.31605710932917</c:v>
                </c:pt>
                <c:pt idx="436">
                  <c:v>127.6667318599648</c:v>
                </c:pt>
                <c:pt idx="437">
                  <c:v>128.58986896147076</c:v>
                </c:pt>
                <c:pt idx="438">
                  <c:v>127.49070995501664</c:v>
                </c:pt>
                <c:pt idx="439">
                  <c:v>127.63152747897517</c:v>
                </c:pt>
                <c:pt idx="440">
                  <c:v>125.38627029141405</c:v>
                </c:pt>
                <c:pt idx="441">
                  <c:v>126.63798161548992</c:v>
                </c:pt>
                <c:pt idx="442">
                  <c:v>128.48034422061411</c:v>
                </c:pt>
                <c:pt idx="443">
                  <c:v>129.51300606297673</c:v>
                </c:pt>
                <c:pt idx="444">
                  <c:v>130.58869548210447</c:v>
                </c:pt>
                <c:pt idx="445">
                  <c:v>130.27185605319772</c:v>
                </c:pt>
                <c:pt idx="446">
                  <c:v>129.61861920594561</c:v>
                </c:pt>
                <c:pt idx="447">
                  <c:v>128.01877566986113</c:v>
                </c:pt>
                <c:pt idx="448">
                  <c:v>128.23391355368668</c:v>
                </c:pt>
                <c:pt idx="449">
                  <c:v>127.90142773322903</c:v>
                </c:pt>
                <c:pt idx="450">
                  <c:v>126.16858986896146</c:v>
                </c:pt>
                <c:pt idx="451">
                  <c:v>124.22061412086838</c:v>
                </c:pt>
                <c:pt idx="452">
                  <c:v>123.21533346371993</c:v>
                </c:pt>
                <c:pt idx="453">
                  <c:v>119.43672990416584</c:v>
                </c:pt>
                <c:pt idx="454">
                  <c:v>117.03892039898298</c:v>
                </c:pt>
                <c:pt idx="455">
                  <c:v>112.81439468022687</c:v>
                </c:pt>
                <c:pt idx="456">
                  <c:v>113.09602972814395</c:v>
                </c:pt>
                <c:pt idx="457">
                  <c:v>111.08155681595933</c:v>
                </c:pt>
                <c:pt idx="458">
                  <c:v>113.85879131625268</c:v>
                </c:pt>
                <c:pt idx="459">
                  <c:v>118.37277527870135</c:v>
                </c:pt>
                <c:pt idx="460">
                  <c:v>118.40406806180323</c:v>
                </c:pt>
                <c:pt idx="461">
                  <c:v>117.03500880109523</c:v>
                </c:pt>
                <c:pt idx="462">
                  <c:v>117.3870526109916</c:v>
                </c:pt>
                <c:pt idx="463">
                  <c:v>112.45843927244279</c:v>
                </c:pt>
                <c:pt idx="464">
                  <c:v>111.73088206532367</c:v>
                </c:pt>
                <c:pt idx="465">
                  <c:v>113.28769802464306</c:v>
                </c:pt>
                <c:pt idx="466">
                  <c:v>113.52239389790731</c:v>
                </c:pt>
                <c:pt idx="467">
                  <c:v>115.6933307256014</c:v>
                </c:pt>
                <c:pt idx="468">
                  <c:v>114.54332094660668</c:v>
                </c:pt>
                <c:pt idx="469">
                  <c:v>113.61627224721298</c:v>
                </c:pt>
                <c:pt idx="470">
                  <c:v>114.95795032270681</c:v>
                </c:pt>
                <c:pt idx="471">
                  <c:v>116.36221396440448</c:v>
                </c:pt>
                <c:pt idx="472">
                  <c:v>119.40152552317622</c:v>
                </c:pt>
                <c:pt idx="473">
                  <c:v>120.04693917465283</c:v>
                </c:pt>
                <c:pt idx="474">
                  <c:v>118.20457656952865</c:v>
                </c:pt>
                <c:pt idx="475">
                  <c:v>114.43770780363778</c:v>
                </c:pt>
                <c:pt idx="476">
                  <c:v>113.31899080774494</c:v>
                </c:pt>
                <c:pt idx="477">
                  <c:v>116.48738509681205</c:v>
                </c:pt>
                <c:pt idx="478">
                  <c:v>117.86035595540778</c:v>
                </c:pt>
                <c:pt idx="479">
                  <c:v>115.40387248190885</c:v>
                </c:pt>
                <c:pt idx="480">
                  <c:v>112.91609622530805</c:v>
                </c:pt>
                <c:pt idx="481">
                  <c:v>113.78838255427341</c:v>
                </c:pt>
                <c:pt idx="482">
                  <c:v>115.44690005867395</c:v>
                </c:pt>
                <c:pt idx="483">
                  <c:v>117.07803637786036</c:v>
                </c:pt>
                <c:pt idx="484">
                  <c:v>117.87209074907099</c:v>
                </c:pt>
                <c:pt idx="485">
                  <c:v>115.87326422843731</c:v>
                </c:pt>
                <c:pt idx="486">
                  <c:v>117.89164873850967</c:v>
                </c:pt>
                <c:pt idx="487">
                  <c:v>116.47956190103656</c:v>
                </c:pt>
                <c:pt idx="488">
                  <c:v>111.78564443575199</c:v>
                </c:pt>
                <c:pt idx="489">
                  <c:v>112.39194210835126</c:v>
                </c:pt>
                <c:pt idx="490">
                  <c:v>115.03227068257382</c:v>
                </c:pt>
                <c:pt idx="491">
                  <c:v>119.12771367103463</c:v>
                </c:pt>
                <c:pt idx="492">
                  <c:v>118.72090749070996</c:v>
                </c:pt>
                <c:pt idx="493">
                  <c:v>120.03129278310189</c:v>
                </c:pt>
                <c:pt idx="494">
                  <c:v>119.06512810483081</c:v>
                </c:pt>
                <c:pt idx="495">
                  <c:v>117.75865441032663</c:v>
                </c:pt>
                <c:pt idx="496">
                  <c:v>115.57207119108155</c:v>
                </c:pt>
                <c:pt idx="497">
                  <c:v>117.46137297085859</c:v>
                </c:pt>
                <c:pt idx="498">
                  <c:v>119.83962448660277</c:v>
                </c:pt>
                <c:pt idx="499">
                  <c:v>120.69626442401722</c:v>
                </c:pt>
                <c:pt idx="500">
                  <c:v>123.07060434187365</c:v>
                </c:pt>
                <c:pt idx="501">
                  <c:v>122.11226285937806</c:v>
                </c:pt>
                <c:pt idx="502">
                  <c:v>124.62742030119304</c:v>
                </c:pt>
                <c:pt idx="503">
                  <c:v>123.30530021513788</c:v>
                </c:pt>
                <c:pt idx="504">
                  <c:v>124.31449247017406</c:v>
                </c:pt>
                <c:pt idx="505">
                  <c:v>122.77332290240564</c:v>
                </c:pt>
                <c:pt idx="506">
                  <c:v>121.52943477410523</c:v>
                </c:pt>
                <c:pt idx="507">
                  <c:v>122.30001955798943</c:v>
                </c:pt>
                <c:pt idx="508">
                  <c:v>119.44064150205361</c:v>
                </c:pt>
                <c:pt idx="509">
                  <c:v>122.12008605515352</c:v>
                </c:pt>
                <c:pt idx="510">
                  <c:v>123.10972032075102</c:v>
                </c:pt>
                <c:pt idx="511">
                  <c:v>121.61940152552317</c:v>
                </c:pt>
                <c:pt idx="512">
                  <c:v>121.36905926070799</c:v>
                </c:pt>
                <c:pt idx="513">
                  <c:v>126.27420301193038</c:v>
                </c:pt>
                <c:pt idx="514">
                  <c:v>124.4748679835713</c:v>
                </c:pt>
                <c:pt idx="515">
                  <c:v>121.61940152552317</c:v>
                </c:pt>
                <c:pt idx="516">
                  <c:v>116.21748484255818</c:v>
                </c:pt>
                <c:pt idx="517">
                  <c:v>117.00762761588108</c:v>
                </c:pt>
                <c:pt idx="518">
                  <c:v>119.40543712106395</c:v>
                </c:pt>
                <c:pt idx="519">
                  <c:v>117.14062194406416</c:v>
                </c:pt>
                <c:pt idx="520">
                  <c:v>117.76647760610209</c:v>
                </c:pt>
                <c:pt idx="521">
                  <c:v>117.78603559554077</c:v>
                </c:pt>
                <c:pt idx="522">
                  <c:v>115.20438098963426</c:v>
                </c:pt>
                <c:pt idx="523">
                  <c:v>114.98141991003324</c:v>
                </c:pt>
                <c:pt idx="524">
                  <c:v>117.92294152161158</c:v>
                </c:pt>
                <c:pt idx="525">
                  <c:v>116.14707608057893</c:v>
                </c:pt>
                <c:pt idx="526">
                  <c:v>115.03227068257382</c:v>
                </c:pt>
                <c:pt idx="527">
                  <c:v>115.19655779385877</c:v>
                </c:pt>
                <c:pt idx="528">
                  <c:v>114.44944259730099</c:v>
                </c:pt>
                <c:pt idx="529">
                  <c:v>114.12477997261881</c:v>
                </c:pt>
                <c:pt idx="530">
                  <c:v>110.65519264619597</c:v>
                </c:pt>
                <c:pt idx="531">
                  <c:v>109.28222178760024</c:v>
                </c:pt>
                <c:pt idx="532">
                  <c:v>107.27948366907883</c:v>
                </c:pt>
                <c:pt idx="533">
                  <c:v>106.32114218658322</c:v>
                </c:pt>
                <c:pt idx="534">
                  <c:v>106.919616663407</c:v>
                </c:pt>
                <c:pt idx="535">
                  <c:v>111.36710346176413</c:v>
                </c:pt>
                <c:pt idx="536">
                  <c:v>112.13768824564833</c:v>
                </c:pt>
                <c:pt idx="537">
                  <c:v>116.3035399960884</c:v>
                </c:pt>
                <c:pt idx="538">
                  <c:v>114.94621552904363</c:v>
                </c:pt>
                <c:pt idx="539">
                  <c:v>116.33874437707803</c:v>
                </c:pt>
                <c:pt idx="540">
                  <c:v>118.37277527870135</c:v>
                </c:pt>
                <c:pt idx="541">
                  <c:v>117.48484255818504</c:v>
                </c:pt>
                <c:pt idx="542">
                  <c:v>117.22276549970663</c:v>
                </c:pt>
                <c:pt idx="543">
                  <c:v>114.4924701740661</c:v>
                </c:pt>
                <c:pt idx="544">
                  <c:v>116.41306473694503</c:v>
                </c:pt>
                <c:pt idx="545">
                  <c:v>114.10131038529239</c:v>
                </c:pt>
                <c:pt idx="546">
                  <c:v>113.86661451202818</c:v>
                </c:pt>
                <c:pt idx="547">
                  <c:v>111.68785448855856</c:v>
                </c:pt>
                <c:pt idx="548">
                  <c:v>112.46626246821825</c:v>
                </c:pt>
                <c:pt idx="549">
                  <c:v>112.48973205554469</c:v>
                </c:pt>
                <c:pt idx="550">
                  <c:v>112.77919029923724</c:v>
                </c:pt>
                <c:pt idx="551">
                  <c:v>114.65675728535108</c:v>
                </c:pt>
                <c:pt idx="552">
                  <c:v>114.21865832192451</c:v>
                </c:pt>
                <c:pt idx="553">
                  <c:v>115.05574026990024</c:v>
                </c:pt>
                <c:pt idx="554">
                  <c:v>116.18619205945629</c:v>
                </c:pt>
                <c:pt idx="555">
                  <c:v>116.2722472129865</c:v>
                </c:pt>
                <c:pt idx="556">
                  <c:v>115.34911011148053</c:v>
                </c:pt>
                <c:pt idx="557">
                  <c:v>116.43262272638373</c:v>
                </c:pt>
                <c:pt idx="558">
                  <c:v>117.31664384901232</c:v>
                </c:pt>
                <c:pt idx="559">
                  <c:v>118.37668687658909</c:v>
                </c:pt>
                <c:pt idx="560">
                  <c:v>120.23469587326423</c:v>
                </c:pt>
                <c:pt idx="561">
                  <c:v>119.83180129082731</c:v>
                </c:pt>
                <c:pt idx="562">
                  <c:v>118.54488558576178</c:v>
                </c:pt>
                <c:pt idx="563">
                  <c:v>118.71308429493448</c:v>
                </c:pt>
                <c:pt idx="564">
                  <c:v>118.17719538431449</c:v>
                </c:pt>
                <c:pt idx="565">
                  <c:v>120.02346958732642</c:v>
                </c:pt>
                <c:pt idx="566">
                  <c:v>119.64404459221592</c:v>
                </c:pt>
                <c:pt idx="567">
                  <c:v>119.55016624291022</c:v>
                </c:pt>
                <c:pt idx="568">
                  <c:v>119.82006649716408</c:v>
                </c:pt>
                <c:pt idx="569">
                  <c:v>120.59065128104831</c:v>
                </c:pt>
                <c:pt idx="570">
                  <c:v>121.4864071973401</c:v>
                </c:pt>
                <c:pt idx="571">
                  <c:v>121.14218658321924</c:v>
                </c:pt>
                <c:pt idx="572">
                  <c:v>122.41736749462153</c:v>
                </c:pt>
                <c:pt idx="573">
                  <c:v>122.04185409739878</c:v>
                </c:pt>
                <c:pt idx="574">
                  <c:v>122.03794249951105</c:v>
                </c:pt>
                <c:pt idx="575">
                  <c:v>121.86192059456289</c:v>
                </c:pt>
                <c:pt idx="576">
                  <c:v>121.17739096420888</c:v>
                </c:pt>
                <c:pt idx="577">
                  <c:v>122.51124584392723</c:v>
                </c:pt>
                <c:pt idx="578">
                  <c:v>121.4003520438099</c:v>
                </c:pt>
                <c:pt idx="579">
                  <c:v>119.87091726970466</c:v>
                </c:pt>
                <c:pt idx="580">
                  <c:v>120.82534715431252</c:v>
                </c:pt>
                <c:pt idx="581">
                  <c:v>122.91805202425191</c:v>
                </c:pt>
                <c:pt idx="582">
                  <c:v>123.09407392920006</c:v>
                </c:pt>
                <c:pt idx="583">
                  <c:v>125.37453549775081</c:v>
                </c:pt>
                <c:pt idx="584">
                  <c:v>125.20633678857813</c:v>
                </c:pt>
                <c:pt idx="585">
                  <c:v>125.10072364560922</c:v>
                </c:pt>
                <c:pt idx="586">
                  <c:v>124.74476823782517</c:v>
                </c:pt>
                <c:pt idx="587">
                  <c:v>124.92079014277333</c:v>
                </c:pt>
                <c:pt idx="588">
                  <c:v>124.09153139057305</c:v>
                </c:pt>
                <c:pt idx="589">
                  <c:v>124.83473498924309</c:v>
                </c:pt>
                <c:pt idx="590">
                  <c:v>124.52571875611187</c:v>
                </c:pt>
                <c:pt idx="591">
                  <c:v>125.27674555055739</c:v>
                </c:pt>
                <c:pt idx="592">
                  <c:v>125.27674555055739</c:v>
                </c:pt>
                <c:pt idx="593">
                  <c:v>125.97692157246235</c:v>
                </c:pt>
                <c:pt idx="594">
                  <c:v>126.81400352043811</c:v>
                </c:pt>
                <c:pt idx="595">
                  <c:v>125.87522002738119</c:v>
                </c:pt>
                <c:pt idx="596">
                  <c:v>125.0029336984158</c:v>
                </c:pt>
                <c:pt idx="597">
                  <c:v>124.29102288284764</c:v>
                </c:pt>
                <c:pt idx="598">
                  <c:v>124.63915509485624</c:v>
                </c:pt>
                <c:pt idx="599">
                  <c:v>124.58439272442791</c:v>
                </c:pt>
                <c:pt idx="600">
                  <c:v>124.3809896342656</c:v>
                </c:pt>
                <c:pt idx="601">
                  <c:v>124.65871308429493</c:v>
                </c:pt>
                <c:pt idx="602">
                  <c:v>125.7422256991981</c:v>
                </c:pt>
                <c:pt idx="603">
                  <c:v>126.01603755133972</c:v>
                </c:pt>
                <c:pt idx="604">
                  <c:v>125.35888910619988</c:v>
                </c:pt>
                <c:pt idx="605">
                  <c:v>122.08879327205162</c:v>
                </c:pt>
                <c:pt idx="606">
                  <c:v>122.84373166438489</c:v>
                </c:pt>
                <c:pt idx="607">
                  <c:v>124.52180715822412</c:v>
                </c:pt>
                <c:pt idx="608">
                  <c:v>125.27283395266966</c:v>
                </c:pt>
                <c:pt idx="609">
                  <c:v>124.71347545472324</c:v>
                </c:pt>
                <c:pt idx="610">
                  <c:v>127.09563856835517</c:v>
                </c:pt>
                <c:pt idx="611">
                  <c:v>127.15431253667123</c:v>
                </c:pt>
                <c:pt idx="612">
                  <c:v>127.88578134167807</c:v>
                </c:pt>
                <c:pt idx="613">
                  <c:v>128.59378055935849</c:v>
                </c:pt>
                <c:pt idx="614">
                  <c:v>129.11011148053979</c:v>
                </c:pt>
                <c:pt idx="615">
                  <c:v>127.90142773322903</c:v>
                </c:pt>
                <c:pt idx="616">
                  <c:v>127.20907490709953</c:v>
                </c:pt>
                <c:pt idx="617">
                  <c:v>125.66399374144336</c:v>
                </c:pt>
                <c:pt idx="618">
                  <c:v>126.16858986896146</c:v>
                </c:pt>
                <c:pt idx="619">
                  <c:v>127.35771562683355</c:v>
                </c:pt>
                <c:pt idx="620">
                  <c:v>127.03305300215138</c:v>
                </c:pt>
                <c:pt idx="621">
                  <c:v>125.73831410131038</c:v>
                </c:pt>
                <c:pt idx="622">
                  <c:v>123.40700176021906</c:v>
                </c:pt>
                <c:pt idx="623">
                  <c:v>124.99119890475259</c:v>
                </c:pt>
                <c:pt idx="624">
                  <c:v>125.61314296890281</c:v>
                </c:pt>
                <c:pt idx="625">
                  <c:v>124.03676902014473</c:v>
                </c:pt>
                <c:pt idx="626">
                  <c:v>120.25034226481519</c:v>
                </c:pt>
                <c:pt idx="627">
                  <c:v>120.34813221200862</c:v>
                </c:pt>
                <c:pt idx="628">
                  <c:v>116.9372188539018</c:v>
                </c:pt>
                <c:pt idx="629">
                  <c:v>117.76256600821435</c:v>
                </c:pt>
                <c:pt idx="630">
                  <c:v>118.17719538431449</c:v>
                </c:pt>
                <c:pt idx="631">
                  <c:v>115.64247995306083</c:v>
                </c:pt>
                <c:pt idx="632">
                  <c:v>115.81459026012124</c:v>
                </c:pt>
                <c:pt idx="633">
                  <c:v>119.08077449638176</c:v>
                </c:pt>
                <c:pt idx="634">
                  <c:v>116.88636808136124</c:v>
                </c:pt>
                <c:pt idx="635">
                  <c:v>115.20438098963426</c:v>
                </c:pt>
                <c:pt idx="636">
                  <c:v>116.37003716017993</c:v>
                </c:pt>
                <c:pt idx="637">
                  <c:v>113.06864854292979</c:v>
                </c:pt>
                <c:pt idx="638">
                  <c:v>115.55251320164288</c:v>
                </c:pt>
                <c:pt idx="639">
                  <c:v>118.15763739487579</c:v>
                </c:pt>
                <c:pt idx="640">
                  <c:v>117.67651085468414</c:v>
                </c:pt>
                <c:pt idx="641">
                  <c:v>119.29982397809505</c:v>
                </c:pt>
                <c:pt idx="642">
                  <c:v>118.18110698220224</c:v>
                </c:pt>
                <c:pt idx="643">
                  <c:v>118.25151574418149</c:v>
                </c:pt>
                <c:pt idx="644">
                  <c:v>117.11324075884997</c:v>
                </c:pt>
                <c:pt idx="645">
                  <c:v>117.07021318208488</c:v>
                </c:pt>
                <c:pt idx="646">
                  <c:v>115.4508116565617</c:v>
                </c:pt>
                <c:pt idx="647">
                  <c:v>116.94895364756503</c:v>
                </c:pt>
                <c:pt idx="648">
                  <c:v>116.0844905143751</c:v>
                </c:pt>
                <c:pt idx="649">
                  <c:v>115.50557402699002</c:v>
                </c:pt>
                <c:pt idx="650">
                  <c:v>116.83942890670838</c:v>
                </c:pt>
                <c:pt idx="651">
                  <c:v>116.66340700176021</c:v>
                </c:pt>
                <c:pt idx="652">
                  <c:v>113.58497946411109</c:v>
                </c:pt>
                <c:pt idx="653">
                  <c:v>112.44279288089183</c:v>
                </c:pt>
                <c:pt idx="654">
                  <c:v>112.47408566399375</c:v>
                </c:pt>
                <c:pt idx="655">
                  <c:v>111.47271660473304</c:v>
                </c:pt>
                <c:pt idx="656">
                  <c:v>110.64345785253276</c:v>
                </c:pt>
                <c:pt idx="657">
                  <c:v>111.87952278505769</c:v>
                </c:pt>
                <c:pt idx="658">
                  <c:v>114.21083512614905</c:v>
                </c:pt>
                <c:pt idx="659">
                  <c:v>110.83903774691962</c:v>
                </c:pt>
                <c:pt idx="660">
                  <c:v>112.00469391746527</c:v>
                </c:pt>
                <c:pt idx="661">
                  <c:v>112.00469391746527</c:v>
                </c:pt>
                <c:pt idx="662">
                  <c:v>111.47662820262076</c:v>
                </c:pt>
                <c:pt idx="663">
                  <c:v>112.01251711324076</c:v>
                </c:pt>
                <c:pt idx="664">
                  <c:v>110.2914140426364</c:v>
                </c:pt>
                <c:pt idx="665">
                  <c:v>109.57559162918051</c:v>
                </c:pt>
                <c:pt idx="666">
                  <c:v>107.56503031488363</c:v>
                </c:pt>
                <c:pt idx="667">
                  <c:v>107.3185996479562</c:v>
                </c:pt>
                <c:pt idx="668">
                  <c:v>107.14257774300802</c:v>
                </c:pt>
                <c:pt idx="669">
                  <c:v>109.94719342851553</c:v>
                </c:pt>
                <c:pt idx="670">
                  <c:v>110.66692743985919</c:v>
                </c:pt>
                <c:pt idx="671">
                  <c:v>111.14805398005083</c:v>
                </c:pt>
                <c:pt idx="672">
                  <c:v>110.60434187365537</c:v>
                </c:pt>
                <c:pt idx="673">
                  <c:v>110.76080578916488</c:v>
                </c:pt>
                <c:pt idx="674">
                  <c:v>110.13103852923921</c:v>
                </c:pt>
                <c:pt idx="675">
                  <c:v>110.29532564052415</c:v>
                </c:pt>
                <c:pt idx="676">
                  <c:v>112.29806375904556</c:v>
                </c:pt>
                <c:pt idx="677">
                  <c:v>111.5548601603755</c:v>
                </c:pt>
                <c:pt idx="678">
                  <c:v>113.33463719929591</c:v>
                </c:pt>
                <c:pt idx="679">
                  <c:v>115.08703305300216</c:v>
                </c:pt>
                <c:pt idx="680">
                  <c:v>114.82886759241148</c:v>
                </c:pt>
                <c:pt idx="681">
                  <c:v>115.3764912966947</c:v>
                </c:pt>
                <c:pt idx="682">
                  <c:v>112.6696655583806</c:v>
                </c:pt>
                <c:pt idx="683">
                  <c:v>112.10639546254646</c:v>
                </c:pt>
                <c:pt idx="684">
                  <c:v>113.82358693526307</c:v>
                </c:pt>
                <c:pt idx="685">
                  <c:v>113.92920007823196</c:v>
                </c:pt>
                <c:pt idx="686">
                  <c:v>118.17328378642675</c:v>
                </c:pt>
                <c:pt idx="687">
                  <c:v>119.2724427928809</c:v>
                </c:pt>
                <c:pt idx="688">
                  <c:v>120.11734793663211</c:v>
                </c:pt>
                <c:pt idx="689">
                  <c:v>119.90221005280657</c:v>
                </c:pt>
                <c:pt idx="690">
                  <c:v>118.55270878153725</c:v>
                </c:pt>
                <c:pt idx="691">
                  <c:v>117.22276549970663</c:v>
                </c:pt>
                <c:pt idx="692">
                  <c:v>117.04283199687073</c:v>
                </c:pt>
                <c:pt idx="693">
                  <c:v>117.96205750048894</c:v>
                </c:pt>
                <c:pt idx="694">
                  <c:v>118.41189125757874</c:v>
                </c:pt>
                <c:pt idx="695">
                  <c:v>116.98415802855466</c:v>
                </c:pt>
                <c:pt idx="696">
                  <c:v>118.6817915118326</c:v>
                </c:pt>
                <c:pt idx="697">
                  <c:v>118.70134950127127</c:v>
                </c:pt>
                <c:pt idx="698">
                  <c:v>118.32583610404851</c:v>
                </c:pt>
                <c:pt idx="699">
                  <c:v>119.05339331116762</c:v>
                </c:pt>
                <c:pt idx="700">
                  <c:v>119.80442010561312</c:v>
                </c:pt>
                <c:pt idx="701">
                  <c:v>116.88636808136124</c:v>
                </c:pt>
                <c:pt idx="702">
                  <c:v>113.57324467044789</c:v>
                </c:pt>
                <c:pt idx="703">
                  <c:v>111.27713671034618</c:v>
                </c:pt>
                <c:pt idx="704">
                  <c:v>111.23410913358107</c:v>
                </c:pt>
                <c:pt idx="705">
                  <c:v>115.37257969880696</c:v>
                </c:pt>
                <c:pt idx="706">
                  <c:v>117.38314101310382</c:v>
                </c:pt>
                <c:pt idx="707">
                  <c:v>119.31547036964598</c:v>
                </c:pt>
                <c:pt idx="708">
                  <c:v>118.15763739487579</c:v>
                </c:pt>
                <c:pt idx="709">
                  <c:v>118.28672012517112</c:v>
                </c:pt>
                <c:pt idx="710">
                  <c:v>115.17699980442009</c:v>
                </c:pt>
                <c:pt idx="711">
                  <c:v>118.91648738509681</c:v>
                </c:pt>
                <c:pt idx="712">
                  <c:v>120.87619792685311</c:v>
                </c:pt>
                <c:pt idx="713">
                  <c:v>122.88675924115002</c:v>
                </c:pt>
                <c:pt idx="714">
                  <c:v>122.64815176999804</c:v>
                </c:pt>
                <c:pt idx="715">
                  <c:v>122.7811460981811</c:v>
                </c:pt>
                <c:pt idx="716">
                  <c:v>122.34304713475454</c:v>
                </c:pt>
                <c:pt idx="717">
                  <c:v>122.12790925092902</c:v>
                </c:pt>
                <c:pt idx="718">
                  <c:v>123.79816154899277</c:v>
                </c:pt>
                <c:pt idx="719">
                  <c:v>123.70037160179935</c:v>
                </c:pt>
                <c:pt idx="720">
                  <c:v>126.84529630353998</c:v>
                </c:pt>
                <c:pt idx="721">
                  <c:v>128.23000195579894</c:v>
                </c:pt>
                <c:pt idx="722">
                  <c:v>127.38118521415997</c:v>
                </c:pt>
                <c:pt idx="723">
                  <c:v>127.85448855857618</c:v>
                </c:pt>
                <c:pt idx="724">
                  <c:v>126.31723058869548</c:v>
                </c:pt>
                <c:pt idx="725">
                  <c:v>125.32368472521026</c:v>
                </c:pt>
                <c:pt idx="726">
                  <c:v>125.66399374144336</c:v>
                </c:pt>
                <c:pt idx="727">
                  <c:v>126.53628007040876</c:v>
                </c:pt>
                <c:pt idx="728">
                  <c:v>125.61705456679053</c:v>
                </c:pt>
                <c:pt idx="729">
                  <c:v>125.60923137101506</c:v>
                </c:pt>
                <c:pt idx="730">
                  <c:v>124.88558576178367</c:v>
                </c:pt>
                <c:pt idx="731">
                  <c:v>125.90260121259533</c:v>
                </c:pt>
                <c:pt idx="732">
                  <c:v>126.36025816546059</c:v>
                </c:pt>
                <c:pt idx="733">
                  <c:v>126.01603755133972</c:v>
                </c:pt>
                <c:pt idx="734">
                  <c:v>125.54664580481125</c:v>
                </c:pt>
                <c:pt idx="735">
                  <c:v>129.05143751222374</c:v>
                </c:pt>
                <c:pt idx="736">
                  <c:v>129.80246430666926</c:v>
                </c:pt>
                <c:pt idx="737">
                  <c:v>129.9002542538627</c:v>
                </c:pt>
                <c:pt idx="738">
                  <c:v>130.14668492079016</c:v>
                </c:pt>
                <c:pt idx="739">
                  <c:v>131.73479366321141</c:v>
                </c:pt>
                <c:pt idx="740">
                  <c:v>130.70604341873656</c:v>
                </c:pt>
                <c:pt idx="741">
                  <c:v>132.6892235478193</c:v>
                </c:pt>
                <c:pt idx="742">
                  <c:v>132.50537844709564</c:v>
                </c:pt>
                <c:pt idx="743">
                  <c:v>131.1519655779386</c:v>
                </c:pt>
                <c:pt idx="744">
                  <c:v>131.3436338744377</c:v>
                </c:pt>
                <c:pt idx="745">
                  <c:v>130.83903774691962</c:v>
                </c:pt>
                <c:pt idx="746">
                  <c:v>132.00469391746529</c:v>
                </c:pt>
                <c:pt idx="747">
                  <c:v>131.37883825542733</c:v>
                </c:pt>
                <c:pt idx="748">
                  <c:v>131.41795423430472</c:v>
                </c:pt>
                <c:pt idx="749">
                  <c:v>128.53510659104245</c:v>
                </c:pt>
                <c:pt idx="750">
                  <c:v>129.48562487776258</c:v>
                </c:pt>
                <c:pt idx="751">
                  <c:v>127.80754938392333</c:v>
                </c:pt>
                <c:pt idx="752">
                  <c:v>129.51691766086446</c:v>
                </c:pt>
                <c:pt idx="753">
                  <c:v>129.50909446508899</c:v>
                </c:pt>
                <c:pt idx="754">
                  <c:v>129.26657539604929</c:v>
                </c:pt>
                <c:pt idx="755">
                  <c:v>129.00058673968317</c:v>
                </c:pt>
                <c:pt idx="756">
                  <c:v>130.51828672012519</c:v>
                </c:pt>
                <c:pt idx="757">
                  <c:v>129.15705065519265</c:v>
                </c:pt>
                <c:pt idx="758">
                  <c:v>128.63680813612362</c:v>
                </c:pt>
                <c:pt idx="759">
                  <c:v>127.71367103461763</c:v>
                </c:pt>
                <c:pt idx="760">
                  <c:v>128.66810091922548</c:v>
                </c:pt>
                <c:pt idx="761">
                  <c:v>128.04615685507531</c:v>
                </c:pt>
                <c:pt idx="762">
                  <c:v>128.53119499315468</c:v>
                </c:pt>
                <c:pt idx="763">
                  <c:v>130.94856248777626</c:v>
                </c:pt>
                <c:pt idx="764">
                  <c:v>132.25112458439273</c:v>
                </c:pt>
                <c:pt idx="765">
                  <c:v>132.09466066888322</c:v>
                </c:pt>
                <c:pt idx="766">
                  <c:v>130.65519264619596</c:v>
                </c:pt>
                <c:pt idx="767">
                  <c:v>130.20144729121847</c:v>
                </c:pt>
                <c:pt idx="768">
                  <c:v>128.49207901427732</c:v>
                </c:pt>
                <c:pt idx="769">
                  <c:v>129.79464111089379</c:v>
                </c:pt>
                <c:pt idx="770">
                  <c:v>129.76725992567964</c:v>
                </c:pt>
                <c:pt idx="771">
                  <c:v>130.23274007432036</c:v>
                </c:pt>
                <c:pt idx="772">
                  <c:v>129.06708390377469</c:v>
                </c:pt>
                <c:pt idx="773">
                  <c:v>129.9511050264033</c:v>
                </c:pt>
                <c:pt idx="774">
                  <c:v>129.88851946019949</c:v>
                </c:pt>
                <c:pt idx="775">
                  <c:v>131.68785448855857</c:v>
                </c:pt>
                <c:pt idx="776">
                  <c:v>131.61353412869155</c:v>
                </c:pt>
                <c:pt idx="777">
                  <c:v>130.18188930177979</c:v>
                </c:pt>
                <c:pt idx="778">
                  <c:v>130.89380011734792</c:v>
                </c:pt>
                <c:pt idx="779">
                  <c:v>128.78936045374536</c:v>
                </c:pt>
                <c:pt idx="780">
                  <c:v>127.73322902405633</c:v>
                </c:pt>
                <c:pt idx="781">
                  <c:v>126.94699784862115</c:v>
                </c:pt>
                <c:pt idx="782">
                  <c:v>126.43457852532759</c:v>
                </c:pt>
                <c:pt idx="783">
                  <c:v>127.17387052610991</c:v>
                </c:pt>
                <c:pt idx="784">
                  <c:v>126.50498728730688</c:v>
                </c:pt>
                <c:pt idx="785">
                  <c:v>125.77351848230003</c:v>
                </c:pt>
                <c:pt idx="786">
                  <c:v>124.44357520046938</c:v>
                </c:pt>
                <c:pt idx="787">
                  <c:v>126.91570506551926</c:v>
                </c:pt>
                <c:pt idx="788">
                  <c:v>127.15822413455895</c:v>
                </c:pt>
                <c:pt idx="789">
                  <c:v>127.82710737336203</c:v>
                </c:pt>
                <c:pt idx="790">
                  <c:v>128.58986896147076</c:v>
                </c:pt>
                <c:pt idx="791">
                  <c:v>129.50909446508899</c:v>
                </c:pt>
                <c:pt idx="792">
                  <c:v>128.74633287698023</c:v>
                </c:pt>
                <c:pt idx="793">
                  <c:v>128.85585761783688</c:v>
                </c:pt>
                <c:pt idx="794">
                  <c:v>128.67201251711325</c:v>
                </c:pt>
                <c:pt idx="795">
                  <c:v>130.73342460395071</c:v>
                </c:pt>
                <c:pt idx="796">
                  <c:v>130.41267357715626</c:v>
                </c:pt>
                <c:pt idx="797">
                  <c:v>130.3344416194015</c:v>
                </c:pt>
                <c:pt idx="798">
                  <c:v>130.64736945042051</c:v>
                </c:pt>
                <c:pt idx="799">
                  <c:v>130.86641893213377</c:v>
                </c:pt>
                <c:pt idx="800">
                  <c:v>130.5221983180129</c:v>
                </c:pt>
                <c:pt idx="801">
                  <c:v>130.45178955603362</c:v>
                </c:pt>
                <c:pt idx="802">
                  <c:v>130.47134754547233</c:v>
                </c:pt>
                <c:pt idx="803">
                  <c:v>131.43360062585566</c:v>
                </c:pt>
                <c:pt idx="804">
                  <c:v>132.52884803442205</c:v>
                </c:pt>
                <c:pt idx="805">
                  <c:v>132.74007432035987</c:v>
                </c:pt>
                <c:pt idx="806">
                  <c:v>132.87306864854293</c:v>
                </c:pt>
                <c:pt idx="807">
                  <c:v>133.43633874437708</c:v>
                </c:pt>
                <c:pt idx="808">
                  <c:v>134.40250342264818</c:v>
                </c:pt>
                <c:pt idx="809">
                  <c:v>135.64247995306081</c:v>
                </c:pt>
                <c:pt idx="810">
                  <c:v>135.58380598474477</c:v>
                </c:pt>
                <c:pt idx="811">
                  <c:v>135.61509876784666</c:v>
                </c:pt>
                <c:pt idx="812">
                  <c:v>135.14179542343047</c:v>
                </c:pt>
                <c:pt idx="813">
                  <c:v>135.22785057696066</c:v>
                </c:pt>
                <c:pt idx="814">
                  <c:v>134.10522198318012</c:v>
                </c:pt>
                <c:pt idx="815">
                  <c:v>134.5667905339331</c:v>
                </c:pt>
                <c:pt idx="816">
                  <c:v>137.87600234695873</c:v>
                </c:pt>
                <c:pt idx="817">
                  <c:v>138.57226677097594</c:v>
                </c:pt>
                <c:pt idx="818">
                  <c:v>139.00645413651475</c:v>
                </c:pt>
                <c:pt idx="819">
                  <c:v>138.90084099354587</c:v>
                </c:pt>
                <c:pt idx="820">
                  <c:v>138.62702914140425</c:v>
                </c:pt>
                <c:pt idx="821">
                  <c:v>140.34813221200861</c:v>
                </c:pt>
                <c:pt idx="822">
                  <c:v>139.73401134363388</c:v>
                </c:pt>
                <c:pt idx="823">
                  <c:v>139.5071386661451</c:v>
                </c:pt>
                <c:pt idx="824">
                  <c:v>138.67005671816938</c:v>
                </c:pt>
                <c:pt idx="825">
                  <c:v>139.29982397809505</c:v>
                </c:pt>
                <c:pt idx="826">
                  <c:v>139.79659690983766</c:v>
                </c:pt>
                <c:pt idx="827">
                  <c:v>140.29728143946804</c:v>
                </c:pt>
                <c:pt idx="828">
                  <c:v>140.31683942890672</c:v>
                </c:pt>
                <c:pt idx="829">
                  <c:v>140.8214355564248</c:v>
                </c:pt>
                <c:pt idx="830">
                  <c:v>140.58673968316057</c:v>
                </c:pt>
                <c:pt idx="831">
                  <c:v>140.71973401134363</c:v>
                </c:pt>
                <c:pt idx="832">
                  <c:v>141.16956776843338</c:v>
                </c:pt>
                <c:pt idx="833">
                  <c:v>141.74457265793077</c:v>
                </c:pt>
                <c:pt idx="834">
                  <c:v>141.31820848816741</c:v>
                </c:pt>
                <c:pt idx="835">
                  <c:v>141.80715822413455</c:v>
                </c:pt>
                <c:pt idx="836">
                  <c:v>141.04830823391353</c:v>
                </c:pt>
                <c:pt idx="837">
                  <c:v>140.05867396831607</c:v>
                </c:pt>
                <c:pt idx="838">
                  <c:v>139.73792294152162</c:v>
                </c:pt>
                <c:pt idx="839">
                  <c:v>137.43790338353216</c:v>
                </c:pt>
                <c:pt idx="840">
                  <c:v>138.83434382945433</c:v>
                </c:pt>
                <c:pt idx="841">
                  <c:v>139.00645413651475</c:v>
                </c:pt>
                <c:pt idx="842">
                  <c:v>138.8421670252298</c:v>
                </c:pt>
                <c:pt idx="843">
                  <c:v>140.77449638177194</c:v>
                </c:pt>
                <c:pt idx="844">
                  <c:v>139.85135928026597</c:v>
                </c:pt>
                <c:pt idx="845">
                  <c:v>140.87228632896537</c:v>
                </c:pt>
                <c:pt idx="846">
                  <c:v>141.95579894386859</c:v>
                </c:pt>
                <c:pt idx="847">
                  <c:v>142.3586935263055</c:v>
                </c:pt>
                <c:pt idx="848">
                  <c:v>141.98318012908274</c:v>
                </c:pt>
                <c:pt idx="849">
                  <c:v>141.67807549383923</c:v>
                </c:pt>
                <c:pt idx="850">
                  <c:v>143.39526696655582</c:v>
                </c:pt>
                <c:pt idx="851">
                  <c:v>142.92587522002736</c:v>
                </c:pt>
                <c:pt idx="852">
                  <c:v>140.78623117543515</c:v>
                </c:pt>
                <c:pt idx="853">
                  <c:v>142.82808527283396</c:v>
                </c:pt>
                <c:pt idx="854">
                  <c:v>142.30393115587719</c:v>
                </c:pt>
                <c:pt idx="855">
                  <c:v>140.88402112262858</c:v>
                </c:pt>
                <c:pt idx="856">
                  <c:v>142.15529043614316</c:v>
                </c:pt>
                <c:pt idx="857">
                  <c:v>143.47741052219831</c:v>
                </c:pt>
                <c:pt idx="858">
                  <c:v>143.16448269117933</c:v>
                </c:pt>
                <c:pt idx="859">
                  <c:v>143.65734402503423</c:v>
                </c:pt>
                <c:pt idx="860">
                  <c:v>146.13729708585959</c:v>
                </c:pt>
                <c:pt idx="861">
                  <c:v>145.36280070408762</c:v>
                </c:pt>
                <c:pt idx="862">
                  <c:v>145.51535302170936</c:v>
                </c:pt>
                <c:pt idx="863">
                  <c:v>146.98220222961078</c:v>
                </c:pt>
                <c:pt idx="864">
                  <c:v>146.33287698024645</c:v>
                </c:pt>
                <c:pt idx="865">
                  <c:v>146.30158419714451</c:v>
                </c:pt>
                <c:pt idx="866">
                  <c:v>146.41110893800118</c:v>
                </c:pt>
                <c:pt idx="867">
                  <c:v>148.4138470565226</c:v>
                </c:pt>
                <c:pt idx="868">
                  <c:v>147.97183649520829</c:v>
                </c:pt>
                <c:pt idx="869">
                  <c:v>147.43203598670058</c:v>
                </c:pt>
                <c:pt idx="870">
                  <c:v>146.75141795423428</c:v>
                </c:pt>
                <c:pt idx="871">
                  <c:v>147.84666536280071</c:v>
                </c:pt>
                <c:pt idx="872">
                  <c:v>147.79972618814787</c:v>
                </c:pt>
                <c:pt idx="873">
                  <c:v>147.8896929395658</c:v>
                </c:pt>
                <c:pt idx="874">
                  <c:v>147.37336201838451</c:v>
                </c:pt>
                <c:pt idx="875">
                  <c:v>146.49325249364364</c:v>
                </c:pt>
                <c:pt idx="876">
                  <c:v>144.82691179346762</c:v>
                </c:pt>
                <c:pt idx="877">
                  <c:v>145.57793858791317</c:v>
                </c:pt>
                <c:pt idx="878">
                  <c:v>147.53373753178175</c:v>
                </c:pt>
                <c:pt idx="879">
                  <c:v>145.85566203794249</c:v>
                </c:pt>
                <c:pt idx="880">
                  <c:v>145.22980637590456</c:v>
                </c:pt>
                <c:pt idx="881">
                  <c:v>143.77469196166635</c:v>
                </c:pt>
                <c:pt idx="882">
                  <c:v>143.69254840602386</c:v>
                </c:pt>
                <c:pt idx="883">
                  <c:v>145.5309994132603</c:v>
                </c:pt>
                <c:pt idx="884">
                  <c:v>148.76589086641894</c:v>
                </c:pt>
                <c:pt idx="885">
                  <c:v>150.29923723841191</c:v>
                </c:pt>
                <c:pt idx="886">
                  <c:v>150.08018775669859</c:v>
                </c:pt>
                <c:pt idx="887">
                  <c:v>149.1844318404068</c:v>
                </c:pt>
                <c:pt idx="888">
                  <c:v>147.22472129865051</c:v>
                </c:pt>
                <c:pt idx="889">
                  <c:v>144.93643653432426</c:v>
                </c:pt>
                <c:pt idx="890">
                  <c:v>144.330138861725</c:v>
                </c:pt>
                <c:pt idx="891">
                  <c:v>144.99119890475259</c:v>
                </c:pt>
                <c:pt idx="892">
                  <c:v>146.18032466262468</c:v>
                </c:pt>
                <c:pt idx="893">
                  <c:v>149.18834343829451</c:v>
                </c:pt>
                <c:pt idx="894">
                  <c:v>150.90553491101116</c:v>
                </c:pt>
                <c:pt idx="895">
                  <c:v>152.49755525132016</c:v>
                </c:pt>
                <c:pt idx="896">
                  <c:v>152.1650694308625</c:v>
                </c:pt>
                <c:pt idx="897">
                  <c:v>153.53804028945822</c:v>
                </c:pt>
                <c:pt idx="898">
                  <c:v>154.10913358106788</c:v>
                </c:pt>
                <c:pt idx="899">
                  <c:v>154.33209466066887</c:v>
                </c:pt>
                <c:pt idx="900">
                  <c:v>154.08957559162917</c:v>
                </c:pt>
                <c:pt idx="901">
                  <c:v>156.50694308625071</c:v>
                </c:pt>
                <c:pt idx="902">
                  <c:v>156.74555055740271</c:v>
                </c:pt>
                <c:pt idx="903">
                  <c:v>157.01545081165656</c:v>
                </c:pt>
                <c:pt idx="904">
                  <c:v>158.21239976530413</c:v>
                </c:pt>
                <c:pt idx="905">
                  <c:v>158.14199100332488</c:v>
                </c:pt>
                <c:pt idx="906">
                  <c:v>158.61138274985331</c:v>
                </c:pt>
                <c:pt idx="907">
                  <c:v>158.42753764912968</c:v>
                </c:pt>
                <c:pt idx="908">
                  <c:v>158.36886368081363</c:v>
                </c:pt>
                <c:pt idx="909">
                  <c:v>159.58537062389985</c:v>
                </c:pt>
                <c:pt idx="910">
                  <c:v>159.84353608449052</c:v>
                </c:pt>
                <c:pt idx="911">
                  <c:v>160.36769020144729</c:v>
                </c:pt>
                <c:pt idx="912">
                  <c:v>160.99354586348522</c:v>
                </c:pt>
                <c:pt idx="913">
                  <c:v>160.92313710150594</c:v>
                </c:pt>
                <c:pt idx="914">
                  <c:v>161.37688245648349</c:v>
                </c:pt>
                <c:pt idx="915">
                  <c:v>158.05593584979462</c:v>
                </c:pt>
                <c:pt idx="916">
                  <c:v>157.90338353217288</c:v>
                </c:pt>
                <c:pt idx="917">
                  <c:v>158.54097398787403</c:v>
                </c:pt>
                <c:pt idx="918">
                  <c:v>159.96088402112264</c:v>
                </c:pt>
                <c:pt idx="919">
                  <c:v>157.42225699198121</c:v>
                </c:pt>
                <c:pt idx="920">
                  <c:v>157.12497555251318</c:v>
                </c:pt>
                <c:pt idx="921">
                  <c:v>154.94621552904363</c:v>
                </c:pt>
                <c:pt idx="922">
                  <c:v>153.67885781341676</c:v>
                </c:pt>
                <c:pt idx="923">
                  <c:v>154.07001760219049</c:v>
                </c:pt>
                <c:pt idx="924">
                  <c:v>151.3866614512028</c:v>
                </c:pt>
                <c:pt idx="925">
                  <c:v>150.24447486798357</c:v>
                </c:pt>
                <c:pt idx="926">
                  <c:v>152.56796401329945</c:v>
                </c:pt>
                <c:pt idx="927">
                  <c:v>152.06336788578133</c:v>
                </c:pt>
                <c:pt idx="928">
                  <c:v>149.9002542538627</c:v>
                </c:pt>
                <c:pt idx="929">
                  <c:v>149.8572266770976</c:v>
                </c:pt>
                <c:pt idx="930">
                  <c:v>150.1427733229024</c:v>
                </c:pt>
                <c:pt idx="931">
                  <c:v>150.95247408566399</c:v>
                </c:pt>
                <c:pt idx="932">
                  <c:v>152.47799726188148</c:v>
                </c:pt>
                <c:pt idx="933">
                  <c:v>152.64619597105417</c:v>
                </c:pt>
                <c:pt idx="934">
                  <c:v>151.80129082730295</c:v>
                </c:pt>
                <c:pt idx="935">
                  <c:v>147.09955016624289</c:v>
                </c:pt>
                <c:pt idx="936">
                  <c:v>144.85429297868177</c:v>
                </c:pt>
                <c:pt idx="937">
                  <c:v>142.7889692939566</c:v>
                </c:pt>
                <c:pt idx="938">
                  <c:v>144.50224916878545</c:v>
                </c:pt>
                <c:pt idx="939">
                  <c:v>146.29376100136906</c:v>
                </c:pt>
                <c:pt idx="940">
                  <c:v>147.06043418736553</c:v>
                </c:pt>
                <c:pt idx="941">
                  <c:v>146.73968316057108</c:v>
                </c:pt>
                <c:pt idx="942">
                  <c:v>149.59514961861919</c:v>
                </c:pt>
                <c:pt idx="943">
                  <c:v>149.27048699393703</c:v>
                </c:pt>
                <c:pt idx="944">
                  <c:v>148.72677488754155</c:v>
                </c:pt>
                <c:pt idx="945">
                  <c:v>151.5861529434774</c:v>
                </c:pt>
                <c:pt idx="946">
                  <c:v>150.0058673968316</c:v>
                </c:pt>
                <c:pt idx="947">
                  <c:v>152.33717973792292</c:v>
                </c:pt>
                <c:pt idx="948">
                  <c:v>153.29552122041852</c:v>
                </c:pt>
                <c:pt idx="949">
                  <c:v>153.11558771758263</c:v>
                </c:pt>
                <c:pt idx="950">
                  <c:v>153.31116761196947</c:v>
                </c:pt>
                <c:pt idx="951">
                  <c:v>151.25366712301974</c:v>
                </c:pt>
                <c:pt idx="952">
                  <c:v>151.68394289067081</c:v>
                </c:pt>
                <c:pt idx="953">
                  <c:v>151.1441423821631</c:v>
                </c:pt>
                <c:pt idx="954">
                  <c:v>152.00469391746529</c:v>
                </c:pt>
                <c:pt idx="955">
                  <c:v>154.12869157050656</c:v>
                </c:pt>
                <c:pt idx="956">
                  <c:v>154.51985135928027</c:v>
                </c:pt>
                <c:pt idx="957">
                  <c:v>154.56287893604537</c:v>
                </c:pt>
                <c:pt idx="958">
                  <c:v>154.73107764521808</c:v>
                </c:pt>
                <c:pt idx="959">
                  <c:v>155.93193819675338</c:v>
                </c:pt>
                <c:pt idx="960">
                  <c:v>155.70897711715236</c:v>
                </c:pt>
                <c:pt idx="961">
                  <c:v>155.95149618619206</c:v>
                </c:pt>
                <c:pt idx="962">
                  <c:v>156.06493252493644</c:v>
                </c:pt>
                <c:pt idx="963">
                  <c:v>157.03109720320748</c:v>
                </c:pt>
                <c:pt idx="964">
                  <c:v>156.22139644044591</c:v>
                </c:pt>
                <c:pt idx="965">
                  <c:v>158.0833170350088</c:v>
                </c:pt>
                <c:pt idx="966">
                  <c:v>159.3780559358498</c:v>
                </c:pt>
                <c:pt idx="967">
                  <c:v>160.25816546059065</c:v>
                </c:pt>
                <c:pt idx="968">
                  <c:v>158.63485233717972</c:v>
                </c:pt>
                <c:pt idx="969">
                  <c:v>158.67005671816935</c:v>
                </c:pt>
                <c:pt idx="970">
                  <c:v>159.89829845491883</c:v>
                </c:pt>
                <c:pt idx="971">
                  <c:v>160.4341873655388</c:v>
                </c:pt>
                <c:pt idx="972">
                  <c:v>159.74183453940933</c:v>
                </c:pt>
                <c:pt idx="973">
                  <c:v>159.84744768237823</c:v>
                </c:pt>
                <c:pt idx="974">
                  <c:v>160.93878349305692</c:v>
                </c:pt>
                <c:pt idx="975">
                  <c:v>159.20203403090164</c:v>
                </c:pt>
                <c:pt idx="976">
                  <c:v>159.74183453940933</c:v>
                </c:pt>
                <c:pt idx="977">
                  <c:v>158.83434382945433</c:v>
                </c:pt>
                <c:pt idx="978">
                  <c:v>157.17582632505378</c:v>
                </c:pt>
                <c:pt idx="979">
                  <c:v>156.64776061020928</c:v>
                </c:pt>
                <c:pt idx="980">
                  <c:v>158.556620379425</c:v>
                </c:pt>
                <c:pt idx="981">
                  <c:v>159.42499511050264</c:v>
                </c:pt>
                <c:pt idx="982">
                  <c:v>158.72090749070995</c:v>
                </c:pt>
                <c:pt idx="983">
                  <c:v>155.16135341286918</c:v>
                </c:pt>
                <c:pt idx="984">
                  <c:v>154.78584001564636</c:v>
                </c:pt>
                <c:pt idx="985">
                  <c:v>156.13142968902795</c:v>
                </c:pt>
                <c:pt idx="986">
                  <c:v>154.44161940152551</c:v>
                </c:pt>
                <c:pt idx="987">
                  <c:v>157.25014668492079</c:v>
                </c:pt>
                <c:pt idx="988">
                  <c:v>156.7768433405046</c:v>
                </c:pt>
                <c:pt idx="989">
                  <c:v>156.76119694895362</c:v>
                </c:pt>
                <c:pt idx="990">
                  <c:v>158.23978095051828</c:v>
                </c:pt>
                <c:pt idx="991">
                  <c:v>159.44064150205358</c:v>
                </c:pt>
                <c:pt idx="992">
                  <c:v>159.90221005280659</c:v>
                </c:pt>
                <c:pt idx="993">
                  <c:v>161.76021904948172</c:v>
                </c:pt>
                <c:pt idx="994">
                  <c:v>162.71073733620184</c:v>
                </c:pt>
                <c:pt idx="995">
                  <c:v>162.71464893408958</c:v>
                </c:pt>
                <c:pt idx="996">
                  <c:v>162.59338939956973</c:v>
                </c:pt>
                <c:pt idx="997">
                  <c:v>164.07588499902209</c:v>
                </c:pt>
                <c:pt idx="998">
                  <c:v>163.94680226872677</c:v>
                </c:pt>
                <c:pt idx="999">
                  <c:v>163.88421670252299</c:v>
                </c:pt>
                <c:pt idx="1000">
                  <c:v>163.58302366516722</c:v>
                </c:pt>
                <c:pt idx="1001">
                  <c:v>162.67162135732448</c:v>
                </c:pt>
                <c:pt idx="1002">
                  <c:v>162.51515744181501</c:v>
                </c:pt>
                <c:pt idx="1003">
                  <c:v>163.65734402503423</c:v>
                </c:pt>
                <c:pt idx="1004">
                  <c:v>164.09544298846077</c:v>
                </c:pt>
                <c:pt idx="1005">
                  <c:v>164.33796205750048</c:v>
                </c:pt>
                <c:pt idx="1006">
                  <c:v>164.11500097789946</c:v>
                </c:pt>
                <c:pt idx="1007">
                  <c:v>163.09798552708781</c:v>
                </c:pt>
                <c:pt idx="1008">
                  <c:v>165.40191668296501</c:v>
                </c:pt>
                <c:pt idx="1009">
                  <c:v>165.14766282026207</c:v>
                </c:pt>
                <c:pt idx="1010">
                  <c:v>164.21670252298065</c:v>
                </c:pt>
                <c:pt idx="1011">
                  <c:v>165.13592802659886</c:v>
                </c:pt>
                <c:pt idx="1012">
                  <c:v>165.11245843927244</c:v>
                </c:pt>
                <c:pt idx="1013">
                  <c:v>164.42010561314297</c:v>
                </c:pt>
                <c:pt idx="1014">
                  <c:v>164.86993937023274</c:v>
                </c:pt>
                <c:pt idx="1015">
                  <c:v>167.32642284373165</c:v>
                </c:pt>
                <c:pt idx="1016">
                  <c:v>167.11519655779387</c:v>
                </c:pt>
                <c:pt idx="1017">
                  <c:v>168.14003520438098</c:v>
                </c:pt>
                <c:pt idx="1018">
                  <c:v>169.61470760805787</c:v>
                </c:pt>
                <c:pt idx="1019">
                  <c:v>170.87424212790924</c:v>
                </c:pt>
                <c:pt idx="1020">
                  <c:v>171.15978877371404</c:v>
                </c:pt>
                <c:pt idx="1021">
                  <c:v>172.42323489145318</c:v>
                </c:pt>
                <c:pt idx="1022">
                  <c:v>173.23293565421474</c:v>
                </c:pt>
                <c:pt idx="1023">
                  <c:v>173.47936632114218</c:v>
                </c:pt>
                <c:pt idx="1024">
                  <c:v>171.81693721885389</c:v>
                </c:pt>
                <c:pt idx="1025">
                  <c:v>173.12732251124586</c:v>
                </c:pt>
                <c:pt idx="1026">
                  <c:v>172.395853706239</c:v>
                </c:pt>
                <c:pt idx="1027">
                  <c:v>172.05163309211812</c:v>
                </c:pt>
                <c:pt idx="1028">
                  <c:v>173.51065910424407</c:v>
                </c:pt>
                <c:pt idx="1029">
                  <c:v>172.86133385487972</c:v>
                </c:pt>
                <c:pt idx="1030">
                  <c:v>174.22648151769999</c:v>
                </c:pt>
                <c:pt idx="1031">
                  <c:v>173.56150987678464</c:v>
                </c:pt>
                <c:pt idx="1032">
                  <c:v>173.95266966555837</c:v>
                </c:pt>
                <c:pt idx="1033">
                  <c:v>173.00606297672601</c:v>
                </c:pt>
                <c:pt idx="1034">
                  <c:v>173.88617250146686</c:v>
                </c:pt>
                <c:pt idx="1035">
                  <c:v>172.87306864854293</c:v>
                </c:pt>
                <c:pt idx="1036">
                  <c:v>172.80657148445138</c:v>
                </c:pt>
                <c:pt idx="1037">
                  <c:v>172.22765499706628</c:v>
                </c:pt>
                <c:pt idx="1038">
                  <c:v>171.36710346176415</c:v>
                </c:pt>
                <c:pt idx="1039">
                  <c:v>170.4869939370233</c:v>
                </c:pt>
                <c:pt idx="1040">
                  <c:v>171.32016428711131</c:v>
                </c:pt>
                <c:pt idx="1041">
                  <c:v>171.64873850968121</c:v>
                </c:pt>
                <c:pt idx="1042">
                  <c:v>173.39722276549972</c:v>
                </c:pt>
                <c:pt idx="1043">
                  <c:v>171.7778212399765</c:v>
                </c:pt>
                <c:pt idx="1044">
                  <c:v>171.35536866810091</c:v>
                </c:pt>
                <c:pt idx="1045">
                  <c:v>171.31234109133578</c:v>
                </c:pt>
                <c:pt idx="1046">
                  <c:v>171.35536866810091</c:v>
                </c:pt>
                <c:pt idx="1047">
                  <c:v>171.85996479561899</c:v>
                </c:pt>
                <c:pt idx="1048">
                  <c:v>171.07764521807158</c:v>
                </c:pt>
                <c:pt idx="1049">
                  <c:v>172.67748875415606</c:v>
                </c:pt>
                <c:pt idx="1050">
                  <c:v>173.18208488167417</c:v>
                </c:pt>
                <c:pt idx="1051">
                  <c:v>173.01388617250146</c:v>
                </c:pt>
                <c:pt idx="1052">
                  <c:v>171.8795227850577</c:v>
                </c:pt>
                <c:pt idx="1053">
                  <c:v>169.40348132212009</c:v>
                </c:pt>
                <c:pt idx="1054">
                  <c:v>168.63289653823588</c:v>
                </c:pt>
                <c:pt idx="1055">
                  <c:v>167.30686485429297</c:v>
                </c:pt>
                <c:pt idx="1056">
                  <c:v>168.08136123606491</c:v>
                </c:pt>
                <c:pt idx="1057">
                  <c:v>169.12575787209073</c:v>
                </c:pt>
                <c:pt idx="1058">
                  <c:v>168.58204576569528</c:v>
                </c:pt>
                <c:pt idx="1059">
                  <c:v>167.23645609231372</c:v>
                </c:pt>
                <c:pt idx="1060">
                  <c:v>166.02386074711518</c:v>
                </c:pt>
                <c:pt idx="1061">
                  <c:v>165.94562878936046</c:v>
                </c:pt>
                <c:pt idx="1062">
                  <c:v>167.65890866418931</c:v>
                </c:pt>
                <c:pt idx="1063">
                  <c:v>166.75924115000979</c:v>
                </c:pt>
                <c:pt idx="1064">
                  <c:v>167.76452180715822</c:v>
                </c:pt>
                <c:pt idx="1065">
                  <c:v>170.56131429689029</c:v>
                </c:pt>
                <c:pt idx="1066">
                  <c:v>170.90553491101116</c:v>
                </c:pt>
                <c:pt idx="1067">
                  <c:v>172.26285937805591</c:v>
                </c:pt>
                <c:pt idx="1068">
                  <c:v>172.81439468022688</c:v>
                </c:pt>
                <c:pt idx="1069">
                  <c:v>174.6176413064737</c:v>
                </c:pt>
                <c:pt idx="1070">
                  <c:v>174.33991785644437</c:v>
                </c:pt>
                <c:pt idx="1071">
                  <c:v>174.96186192059457</c:v>
                </c:pt>
                <c:pt idx="1072">
                  <c:v>173.94875806767064</c:v>
                </c:pt>
                <c:pt idx="1073">
                  <c:v>175.1457070213182</c:v>
                </c:pt>
                <c:pt idx="1074">
                  <c:v>175.02444748679835</c:v>
                </c:pt>
                <c:pt idx="1075">
                  <c:v>175.90064541365146</c:v>
                </c:pt>
                <c:pt idx="1076">
                  <c:v>175.77156268335614</c:v>
                </c:pt>
                <c:pt idx="1077">
                  <c:v>175.71680031292786</c:v>
                </c:pt>
                <c:pt idx="1078">
                  <c:v>176.5343242714649</c:v>
                </c:pt>
                <c:pt idx="1079">
                  <c:v>177.07803637786034</c:v>
                </c:pt>
                <c:pt idx="1080">
                  <c:v>177.68824564834733</c:v>
                </c:pt>
                <c:pt idx="1081">
                  <c:v>179.34285155486015</c:v>
                </c:pt>
                <c:pt idx="1082">
                  <c:v>179.44064150205358</c:v>
                </c:pt>
                <c:pt idx="1083">
                  <c:v>180.36769020144729</c:v>
                </c:pt>
                <c:pt idx="1084">
                  <c:v>179.84353608449049</c:v>
                </c:pt>
                <c:pt idx="1085">
                  <c:v>179.94914922745943</c:v>
                </c:pt>
                <c:pt idx="1086">
                  <c:v>180.18384510072363</c:v>
                </c:pt>
                <c:pt idx="1087">
                  <c:v>179.17856444357517</c:v>
                </c:pt>
                <c:pt idx="1088">
                  <c:v>175.09876784666537</c:v>
                </c:pt>
                <c:pt idx="1089">
                  <c:v>174.01525523176218</c:v>
                </c:pt>
                <c:pt idx="1090">
                  <c:v>174.71151965577937</c:v>
                </c:pt>
                <c:pt idx="1091">
                  <c:v>174.02699002542536</c:v>
                </c:pt>
                <c:pt idx="1092">
                  <c:v>174.82104439663601</c:v>
                </c:pt>
                <c:pt idx="1093">
                  <c:v>174.08566399374143</c:v>
                </c:pt>
                <c:pt idx="1094">
                  <c:v>172.46235087033054</c:v>
                </c:pt>
                <c:pt idx="1095">
                  <c:v>172.1650694308625</c:v>
                </c:pt>
                <c:pt idx="1096">
                  <c:v>172.56014081752394</c:v>
                </c:pt>
                <c:pt idx="1097">
                  <c:v>174.4807353804029</c:v>
                </c:pt>
                <c:pt idx="1098">
                  <c:v>175.87717582632504</c:v>
                </c:pt>
                <c:pt idx="1099">
                  <c:v>176.11187169958927</c:v>
                </c:pt>
                <c:pt idx="1100">
                  <c:v>178.16546059065129</c:v>
                </c:pt>
                <c:pt idx="1101">
                  <c:v>179.20985722667709</c:v>
                </c:pt>
                <c:pt idx="1102">
                  <c:v>179.31155877175826</c:v>
                </c:pt>
                <c:pt idx="1103">
                  <c:v>180.34030901623314</c:v>
                </c:pt>
                <c:pt idx="1104">
                  <c:v>181.09133581067866</c:v>
                </c:pt>
                <c:pt idx="1105">
                  <c:v>180.84881674163896</c:v>
                </c:pt>
                <c:pt idx="1106">
                  <c:v>181.19303735575986</c:v>
                </c:pt>
                <c:pt idx="1107">
                  <c:v>181.22041854097398</c:v>
                </c:pt>
                <c:pt idx="1108">
                  <c:v>181.82671621357323</c:v>
                </c:pt>
                <c:pt idx="1109">
                  <c:v>183.08233913553687</c:v>
                </c:pt>
                <c:pt idx="1110">
                  <c:v>184.28711128495991</c:v>
                </c:pt>
                <c:pt idx="1111">
                  <c:v>183.86857031097205</c:v>
                </c:pt>
                <c:pt idx="1112">
                  <c:v>184.25190690397028</c:v>
                </c:pt>
                <c:pt idx="1113">
                  <c:v>184.7604146293761</c:v>
                </c:pt>
                <c:pt idx="1114">
                  <c:v>180.67670643457851</c:v>
                </c:pt>
                <c:pt idx="1115">
                  <c:v>184.00938783493058</c:v>
                </c:pt>
                <c:pt idx="1116">
                  <c:v>183.89203989829846</c:v>
                </c:pt>
                <c:pt idx="1117">
                  <c:v>184.74476823782516</c:v>
                </c:pt>
                <c:pt idx="1118">
                  <c:v>182.46821826716214</c:v>
                </c:pt>
                <c:pt idx="1119">
                  <c:v>181.056131429689</c:v>
                </c:pt>
                <c:pt idx="1120">
                  <c:v>181.49814199100331</c:v>
                </c:pt>
                <c:pt idx="1121">
                  <c:v>179.69489536475649</c:v>
                </c:pt>
                <c:pt idx="1122">
                  <c:v>178.42753764912968</c:v>
                </c:pt>
                <c:pt idx="1123">
                  <c:v>177.03109720320751</c:v>
                </c:pt>
                <c:pt idx="1124">
                  <c:v>179.38587913162527</c:v>
                </c:pt>
                <c:pt idx="1125">
                  <c:v>180.61020927048699</c:v>
                </c:pt>
                <c:pt idx="1126">
                  <c:v>179.91003324858204</c:v>
                </c:pt>
                <c:pt idx="1127">
                  <c:v>179.68316057109331</c:v>
                </c:pt>
                <c:pt idx="1128">
                  <c:v>179.64013299432818</c:v>
                </c:pt>
                <c:pt idx="1129">
                  <c:v>178.01681987091726</c:v>
                </c:pt>
                <c:pt idx="1130">
                  <c:v>180.23078427537649</c:v>
                </c:pt>
                <c:pt idx="1131">
                  <c:v>181.62331312341092</c:v>
                </c:pt>
                <c:pt idx="1132">
                  <c:v>181.52943477410523</c:v>
                </c:pt>
                <c:pt idx="1133">
                  <c:v>182.47604146293762</c:v>
                </c:pt>
                <c:pt idx="1134">
                  <c:v>182.87502444748677</c:v>
                </c:pt>
                <c:pt idx="1135">
                  <c:v>184.65871308429493</c:v>
                </c:pt>
                <c:pt idx="1136">
                  <c:v>184.94034813221199</c:v>
                </c:pt>
                <c:pt idx="1137">
                  <c:v>184.81517699980444</c:v>
                </c:pt>
                <c:pt idx="1138">
                  <c:v>185.63661255622921</c:v>
                </c:pt>
                <c:pt idx="1139">
                  <c:v>184.16976334832776</c:v>
                </c:pt>
                <c:pt idx="1140">
                  <c:v>182.54253862702913</c:v>
                </c:pt>
                <c:pt idx="1141">
                  <c:v>183.81380794054371</c:v>
                </c:pt>
                <c:pt idx="1142">
                  <c:v>182.66770975943675</c:v>
                </c:pt>
                <c:pt idx="1143">
                  <c:v>180.51241932329356</c:v>
                </c:pt>
                <c:pt idx="1144">
                  <c:v>179.71054175630746</c:v>
                </c:pt>
                <c:pt idx="1145">
                  <c:v>177.86426755329552</c:v>
                </c:pt>
                <c:pt idx="1146">
                  <c:v>180.44983375708975</c:v>
                </c:pt>
                <c:pt idx="1147">
                  <c:v>181.50987678466652</c:v>
                </c:pt>
                <c:pt idx="1148">
                  <c:v>184.3184040680618</c:v>
                </c:pt>
                <c:pt idx="1149">
                  <c:v>184.40445922159202</c:v>
                </c:pt>
                <c:pt idx="1150">
                  <c:v>185.15548601603754</c:v>
                </c:pt>
                <c:pt idx="1151">
                  <c:v>183.84901232153334</c:v>
                </c:pt>
                <c:pt idx="1152">
                  <c:v>184.28711128495991</c:v>
                </c:pt>
                <c:pt idx="1153">
                  <c:v>187.57285351065909</c:v>
                </c:pt>
                <c:pt idx="1154">
                  <c:v>186.73185996479563</c:v>
                </c:pt>
                <c:pt idx="1155">
                  <c:v>186.66927439859182</c:v>
                </c:pt>
                <c:pt idx="1156">
                  <c:v>187.51417954234304</c:v>
                </c:pt>
                <c:pt idx="1157">
                  <c:v>187.39292000782319</c:v>
                </c:pt>
                <c:pt idx="1158">
                  <c:v>187.2481908859769</c:v>
                </c:pt>
                <c:pt idx="1159">
                  <c:v>187.97183649520829</c:v>
                </c:pt>
                <c:pt idx="1160">
                  <c:v>189.806375904557</c:v>
                </c:pt>
                <c:pt idx="1161">
                  <c:v>189.37218853901817</c:v>
                </c:pt>
                <c:pt idx="1162">
                  <c:v>190.53784470956384</c:v>
                </c:pt>
                <c:pt idx="1163">
                  <c:v>190.78036377860357</c:v>
                </c:pt>
                <c:pt idx="1164">
                  <c:v>190.19362409544297</c:v>
                </c:pt>
                <c:pt idx="1165">
                  <c:v>188.05789164873849</c:v>
                </c:pt>
                <c:pt idx="1166">
                  <c:v>188.06962644240173</c:v>
                </c:pt>
                <c:pt idx="1167">
                  <c:v>188.43340504596128</c:v>
                </c:pt>
                <c:pt idx="1168">
                  <c:v>188.34343829454332</c:v>
                </c:pt>
                <c:pt idx="1169">
                  <c:v>189.30177977703892</c:v>
                </c:pt>
                <c:pt idx="1170">
                  <c:v>189.57168003129277</c:v>
                </c:pt>
                <c:pt idx="1171">
                  <c:v>190.91335810678663</c:v>
                </c:pt>
                <c:pt idx="1172">
                  <c:v>191.93819675337375</c:v>
                </c:pt>
                <c:pt idx="1173">
                  <c:v>192.395853706239</c:v>
                </c:pt>
                <c:pt idx="1174">
                  <c:v>193.01779777038919</c:v>
                </c:pt>
                <c:pt idx="1175">
                  <c:v>193.14296890279678</c:v>
                </c:pt>
                <c:pt idx="1176">
                  <c:v>193.38157637394875</c:v>
                </c:pt>
                <c:pt idx="1177">
                  <c:v>194.12869157050656</c:v>
                </c:pt>
                <c:pt idx="1178">
                  <c:v>193.24858204576569</c:v>
                </c:pt>
                <c:pt idx="1179">
                  <c:v>193.50674750635633</c:v>
                </c:pt>
                <c:pt idx="1180">
                  <c:v>194.90709955016624</c:v>
                </c:pt>
                <c:pt idx="1181">
                  <c:v>197.42616858986898</c:v>
                </c:pt>
                <c:pt idx="1182">
                  <c:v>198.1263446117739</c:v>
                </c:pt>
                <c:pt idx="1183">
                  <c:v>198.18893017797768</c:v>
                </c:pt>
                <c:pt idx="1184">
                  <c:v>196.21748484255818</c:v>
                </c:pt>
                <c:pt idx="1185">
                  <c:v>196.08057891648738</c:v>
                </c:pt>
                <c:pt idx="1186">
                  <c:v>195.01271269313514</c:v>
                </c:pt>
                <c:pt idx="1187">
                  <c:v>193.7962057500489</c:v>
                </c:pt>
                <c:pt idx="1188">
                  <c:v>194.01916682964989</c:v>
                </c:pt>
                <c:pt idx="1189">
                  <c:v>194.22648151769999</c:v>
                </c:pt>
                <c:pt idx="1190">
                  <c:v>194.9970663015842</c:v>
                </c:pt>
                <c:pt idx="1191">
                  <c:v>193.89399569724233</c:v>
                </c:pt>
                <c:pt idx="1192">
                  <c:v>193.88617250146686</c:v>
                </c:pt>
                <c:pt idx="1193">
                  <c:v>193.7962057500489</c:v>
                </c:pt>
                <c:pt idx="1194">
                  <c:v>192.01251711324073</c:v>
                </c:pt>
                <c:pt idx="1195">
                  <c:v>193.1664384901232</c:v>
                </c:pt>
                <c:pt idx="1196">
                  <c:v>193.26814003520437</c:v>
                </c:pt>
                <c:pt idx="1197">
                  <c:v>193.58497946411109</c:v>
                </c:pt>
                <c:pt idx="1198">
                  <c:v>194.3672990416585</c:v>
                </c:pt>
                <c:pt idx="1199">
                  <c:v>195.69724232348915</c:v>
                </c:pt>
                <c:pt idx="1200">
                  <c:v>196.96068844122823</c:v>
                </c:pt>
                <c:pt idx="1201">
                  <c:v>196.87463328769803</c:v>
                </c:pt>
                <c:pt idx="1202">
                  <c:v>195.82632505378444</c:v>
                </c:pt>
                <c:pt idx="1203">
                  <c:v>192.96303539996089</c:v>
                </c:pt>
                <c:pt idx="1204">
                  <c:v>192.70878153725798</c:v>
                </c:pt>
                <c:pt idx="1205">
                  <c:v>190.81165656170543</c:v>
                </c:pt>
                <c:pt idx="1206">
                  <c:v>191.46880500684529</c:v>
                </c:pt>
                <c:pt idx="1207">
                  <c:v>192.66575396049285</c:v>
                </c:pt>
                <c:pt idx="1208">
                  <c:v>192.10248386465872</c:v>
                </c:pt>
                <c:pt idx="1209">
                  <c:v>194.77801681987091</c:v>
                </c:pt>
                <c:pt idx="1210">
                  <c:v>193.57715626833561</c:v>
                </c:pt>
                <c:pt idx="1211">
                  <c:v>193.67103461764131</c:v>
                </c:pt>
                <c:pt idx="1212">
                  <c:v>193.01388617250146</c:v>
                </c:pt>
                <c:pt idx="1213">
                  <c:v>195.56424799530606</c:v>
                </c:pt>
                <c:pt idx="1214">
                  <c:v>195.57207119108156</c:v>
                </c:pt>
                <c:pt idx="1215">
                  <c:v>195.69333072560141</c:v>
                </c:pt>
                <c:pt idx="1216">
                  <c:v>194.91492274594171</c:v>
                </c:pt>
                <c:pt idx="1217">
                  <c:v>194.7036964600039</c:v>
                </c:pt>
                <c:pt idx="1218">
                  <c:v>195.29434774105221</c:v>
                </c:pt>
                <c:pt idx="1219">
                  <c:v>194.05045961275181</c:v>
                </c:pt>
                <c:pt idx="1220">
                  <c:v>191.40621944064148</c:v>
                </c:pt>
                <c:pt idx="1221">
                  <c:v>189.16096225308036</c:v>
                </c:pt>
                <c:pt idx="1222">
                  <c:v>189.07099550166242</c:v>
                </c:pt>
                <c:pt idx="1223">
                  <c:v>188.82847643262272</c:v>
                </c:pt>
                <c:pt idx="1224">
                  <c:v>187.67064345785252</c:v>
                </c:pt>
                <c:pt idx="1225">
                  <c:v>185.95736358302366</c:v>
                </c:pt>
                <c:pt idx="1226">
                  <c:v>184.7525914336006</c:v>
                </c:pt>
                <c:pt idx="1227">
                  <c:v>187.03305300215135</c:v>
                </c:pt>
                <c:pt idx="1228">
                  <c:v>187.16604733033444</c:v>
                </c:pt>
                <c:pt idx="1229">
                  <c:v>187.10737336201836</c:v>
                </c:pt>
                <c:pt idx="1230">
                  <c:v>187.56111871699588</c:v>
                </c:pt>
                <c:pt idx="1231">
                  <c:v>187.41638959514961</c:v>
                </c:pt>
                <c:pt idx="1232">
                  <c:v>189.14531586152944</c:v>
                </c:pt>
                <c:pt idx="1233">
                  <c:v>189.44259730099745</c:v>
                </c:pt>
                <c:pt idx="1234">
                  <c:v>189.98239780950519</c:v>
                </c:pt>
                <c:pt idx="1235">
                  <c:v>190.99550166242909</c:v>
                </c:pt>
                <c:pt idx="1236">
                  <c:v>190.81165656170543</c:v>
                </c:pt>
                <c:pt idx="1237">
                  <c:v>192.395853706239</c:v>
                </c:pt>
                <c:pt idx="1238">
                  <c:v>193.89399569724233</c:v>
                </c:pt>
                <c:pt idx="1239">
                  <c:v>194.14433796205751</c:v>
                </c:pt>
                <c:pt idx="1240">
                  <c:v>193.06864854292976</c:v>
                </c:pt>
                <c:pt idx="1241">
                  <c:v>193.19381967533735</c:v>
                </c:pt>
                <c:pt idx="1242">
                  <c:v>193.68276941130452</c:v>
                </c:pt>
                <c:pt idx="1243">
                  <c:v>193.56933307256014</c:v>
                </c:pt>
                <c:pt idx="1244">
                  <c:v>194.14042636416974</c:v>
                </c:pt>
                <c:pt idx="1245">
                  <c:v>196.47956190103656</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c:formatCode>
                <c:ptCount val="1246"/>
                <c:pt idx="0">
                  <c:v>40116</c:v>
                </c:pt>
                <c:pt idx="1">
                  <c:v>40119</c:v>
                </c:pt>
                <c:pt idx="2">
                  <c:v>40120</c:v>
                </c:pt>
                <c:pt idx="3">
                  <c:v>40121</c:v>
                </c:pt>
                <c:pt idx="4">
                  <c:v>40122</c:v>
                </c:pt>
                <c:pt idx="5">
                  <c:v>40123</c:v>
                </c:pt>
                <c:pt idx="6">
                  <c:v>40126</c:v>
                </c:pt>
                <c:pt idx="7">
                  <c:v>40127</c:v>
                </c:pt>
                <c:pt idx="8">
                  <c:v>40128</c:v>
                </c:pt>
                <c:pt idx="9">
                  <c:v>40129</c:v>
                </c:pt>
                <c:pt idx="10">
                  <c:v>40130</c:v>
                </c:pt>
                <c:pt idx="11">
                  <c:v>40133</c:v>
                </c:pt>
                <c:pt idx="12">
                  <c:v>40134</c:v>
                </c:pt>
                <c:pt idx="13">
                  <c:v>40135</c:v>
                </c:pt>
                <c:pt idx="14">
                  <c:v>40136</c:v>
                </c:pt>
                <c:pt idx="15">
                  <c:v>40137</c:v>
                </c:pt>
                <c:pt idx="16">
                  <c:v>40140</c:v>
                </c:pt>
                <c:pt idx="17">
                  <c:v>40141</c:v>
                </c:pt>
                <c:pt idx="18">
                  <c:v>40142</c:v>
                </c:pt>
                <c:pt idx="19">
                  <c:v>40143</c:v>
                </c:pt>
                <c:pt idx="20">
                  <c:v>40144</c:v>
                </c:pt>
                <c:pt idx="21">
                  <c:v>40147</c:v>
                </c:pt>
                <c:pt idx="22">
                  <c:v>40148</c:v>
                </c:pt>
                <c:pt idx="23">
                  <c:v>40149</c:v>
                </c:pt>
                <c:pt idx="24">
                  <c:v>40150</c:v>
                </c:pt>
                <c:pt idx="25">
                  <c:v>40151</c:v>
                </c:pt>
                <c:pt idx="26">
                  <c:v>40154</c:v>
                </c:pt>
                <c:pt idx="27">
                  <c:v>40155</c:v>
                </c:pt>
                <c:pt idx="28">
                  <c:v>40156</c:v>
                </c:pt>
                <c:pt idx="29">
                  <c:v>40157</c:v>
                </c:pt>
                <c:pt idx="30">
                  <c:v>40158</c:v>
                </c:pt>
                <c:pt idx="31">
                  <c:v>40161</c:v>
                </c:pt>
                <c:pt idx="32">
                  <c:v>40162</c:v>
                </c:pt>
                <c:pt idx="33">
                  <c:v>40163</c:v>
                </c:pt>
                <c:pt idx="34">
                  <c:v>40164</c:v>
                </c:pt>
                <c:pt idx="35">
                  <c:v>40165</c:v>
                </c:pt>
                <c:pt idx="36">
                  <c:v>40168</c:v>
                </c:pt>
                <c:pt idx="37">
                  <c:v>40169</c:v>
                </c:pt>
                <c:pt idx="38">
                  <c:v>40170</c:v>
                </c:pt>
                <c:pt idx="39">
                  <c:v>40171</c:v>
                </c:pt>
                <c:pt idx="40">
                  <c:v>40175</c:v>
                </c:pt>
                <c:pt idx="41">
                  <c:v>40176</c:v>
                </c:pt>
                <c:pt idx="42">
                  <c:v>40177</c:v>
                </c:pt>
                <c:pt idx="43">
                  <c:v>40178</c:v>
                </c:pt>
                <c:pt idx="44">
                  <c:v>40182</c:v>
                </c:pt>
                <c:pt idx="45">
                  <c:v>40183</c:v>
                </c:pt>
                <c:pt idx="46">
                  <c:v>40184</c:v>
                </c:pt>
                <c:pt idx="47">
                  <c:v>40185</c:v>
                </c:pt>
                <c:pt idx="48">
                  <c:v>40186</c:v>
                </c:pt>
                <c:pt idx="49">
                  <c:v>40189</c:v>
                </c:pt>
                <c:pt idx="50">
                  <c:v>40190</c:v>
                </c:pt>
                <c:pt idx="51">
                  <c:v>40191</c:v>
                </c:pt>
                <c:pt idx="52">
                  <c:v>40192</c:v>
                </c:pt>
                <c:pt idx="53">
                  <c:v>40193</c:v>
                </c:pt>
                <c:pt idx="54">
                  <c:v>40196</c:v>
                </c:pt>
                <c:pt idx="55">
                  <c:v>40197</c:v>
                </c:pt>
                <c:pt idx="56">
                  <c:v>40198</c:v>
                </c:pt>
                <c:pt idx="57">
                  <c:v>40199</c:v>
                </c:pt>
                <c:pt idx="58">
                  <c:v>40200</c:v>
                </c:pt>
                <c:pt idx="59">
                  <c:v>40203</c:v>
                </c:pt>
                <c:pt idx="60">
                  <c:v>40204</c:v>
                </c:pt>
                <c:pt idx="61">
                  <c:v>40205</c:v>
                </c:pt>
                <c:pt idx="62">
                  <c:v>40206</c:v>
                </c:pt>
                <c:pt idx="63">
                  <c:v>40207</c:v>
                </c:pt>
                <c:pt idx="64">
                  <c:v>40210</c:v>
                </c:pt>
                <c:pt idx="65">
                  <c:v>40211</c:v>
                </c:pt>
                <c:pt idx="66">
                  <c:v>40212</c:v>
                </c:pt>
                <c:pt idx="67">
                  <c:v>40213</c:v>
                </c:pt>
                <c:pt idx="68">
                  <c:v>40214</c:v>
                </c:pt>
                <c:pt idx="69">
                  <c:v>40217</c:v>
                </c:pt>
                <c:pt idx="70">
                  <c:v>40218</c:v>
                </c:pt>
                <c:pt idx="71">
                  <c:v>40219</c:v>
                </c:pt>
                <c:pt idx="72">
                  <c:v>40220</c:v>
                </c:pt>
                <c:pt idx="73">
                  <c:v>40221</c:v>
                </c:pt>
                <c:pt idx="74">
                  <c:v>40224</c:v>
                </c:pt>
                <c:pt idx="75">
                  <c:v>40225</c:v>
                </c:pt>
                <c:pt idx="76">
                  <c:v>40226</c:v>
                </c:pt>
                <c:pt idx="77">
                  <c:v>40227</c:v>
                </c:pt>
                <c:pt idx="78">
                  <c:v>40228</c:v>
                </c:pt>
                <c:pt idx="79">
                  <c:v>40231</c:v>
                </c:pt>
                <c:pt idx="80">
                  <c:v>40232</c:v>
                </c:pt>
                <c:pt idx="81">
                  <c:v>40233</c:v>
                </c:pt>
                <c:pt idx="82">
                  <c:v>40234</c:v>
                </c:pt>
                <c:pt idx="83">
                  <c:v>40235</c:v>
                </c:pt>
                <c:pt idx="84">
                  <c:v>40238</c:v>
                </c:pt>
                <c:pt idx="85">
                  <c:v>40239</c:v>
                </c:pt>
                <c:pt idx="86">
                  <c:v>40240</c:v>
                </c:pt>
                <c:pt idx="87">
                  <c:v>40241</c:v>
                </c:pt>
                <c:pt idx="88">
                  <c:v>40242</c:v>
                </c:pt>
                <c:pt idx="89">
                  <c:v>40245</c:v>
                </c:pt>
                <c:pt idx="90">
                  <c:v>40246</c:v>
                </c:pt>
                <c:pt idx="91">
                  <c:v>40247</c:v>
                </c:pt>
                <c:pt idx="92">
                  <c:v>40248</c:v>
                </c:pt>
                <c:pt idx="93">
                  <c:v>40249</c:v>
                </c:pt>
                <c:pt idx="94">
                  <c:v>40252</c:v>
                </c:pt>
                <c:pt idx="95">
                  <c:v>40253</c:v>
                </c:pt>
                <c:pt idx="96">
                  <c:v>40254</c:v>
                </c:pt>
                <c:pt idx="97">
                  <c:v>40255</c:v>
                </c:pt>
                <c:pt idx="98">
                  <c:v>40256</c:v>
                </c:pt>
                <c:pt idx="99">
                  <c:v>40259</c:v>
                </c:pt>
                <c:pt idx="100">
                  <c:v>40260</c:v>
                </c:pt>
                <c:pt idx="101">
                  <c:v>40261</c:v>
                </c:pt>
                <c:pt idx="102">
                  <c:v>40262</c:v>
                </c:pt>
                <c:pt idx="103">
                  <c:v>40263</c:v>
                </c:pt>
                <c:pt idx="104">
                  <c:v>40266</c:v>
                </c:pt>
                <c:pt idx="105">
                  <c:v>40267</c:v>
                </c:pt>
                <c:pt idx="106">
                  <c:v>40268</c:v>
                </c:pt>
                <c:pt idx="107">
                  <c:v>40269</c:v>
                </c:pt>
                <c:pt idx="108">
                  <c:v>40274</c:v>
                </c:pt>
                <c:pt idx="109">
                  <c:v>40275</c:v>
                </c:pt>
                <c:pt idx="110">
                  <c:v>40276</c:v>
                </c:pt>
                <c:pt idx="111">
                  <c:v>40277</c:v>
                </c:pt>
                <c:pt idx="112">
                  <c:v>40280</c:v>
                </c:pt>
                <c:pt idx="113">
                  <c:v>40281</c:v>
                </c:pt>
                <c:pt idx="114">
                  <c:v>40282</c:v>
                </c:pt>
                <c:pt idx="115">
                  <c:v>40283</c:v>
                </c:pt>
                <c:pt idx="116">
                  <c:v>40284</c:v>
                </c:pt>
                <c:pt idx="117">
                  <c:v>40287</c:v>
                </c:pt>
                <c:pt idx="118">
                  <c:v>40288</c:v>
                </c:pt>
                <c:pt idx="119">
                  <c:v>40289</c:v>
                </c:pt>
                <c:pt idx="120">
                  <c:v>40290</c:v>
                </c:pt>
                <c:pt idx="121">
                  <c:v>40291</c:v>
                </c:pt>
                <c:pt idx="122">
                  <c:v>40294</c:v>
                </c:pt>
                <c:pt idx="123">
                  <c:v>40295</c:v>
                </c:pt>
                <c:pt idx="124">
                  <c:v>40296</c:v>
                </c:pt>
                <c:pt idx="125">
                  <c:v>40297</c:v>
                </c:pt>
                <c:pt idx="126">
                  <c:v>40298</c:v>
                </c:pt>
                <c:pt idx="127">
                  <c:v>40301</c:v>
                </c:pt>
                <c:pt idx="128">
                  <c:v>40302</c:v>
                </c:pt>
                <c:pt idx="129">
                  <c:v>40303</c:v>
                </c:pt>
                <c:pt idx="130">
                  <c:v>40304</c:v>
                </c:pt>
                <c:pt idx="131">
                  <c:v>40305</c:v>
                </c:pt>
                <c:pt idx="132">
                  <c:v>40308</c:v>
                </c:pt>
                <c:pt idx="133">
                  <c:v>40309</c:v>
                </c:pt>
                <c:pt idx="134">
                  <c:v>40310</c:v>
                </c:pt>
                <c:pt idx="135">
                  <c:v>40311</c:v>
                </c:pt>
                <c:pt idx="136">
                  <c:v>40312</c:v>
                </c:pt>
                <c:pt idx="137">
                  <c:v>40315</c:v>
                </c:pt>
                <c:pt idx="138">
                  <c:v>40316</c:v>
                </c:pt>
                <c:pt idx="139">
                  <c:v>40317</c:v>
                </c:pt>
                <c:pt idx="140">
                  <c:v>40318</c:v>
                </c:pt>
                <c:pt idx="141">
                  <c:v>40319</c:v>
                </c:pt>
                <c:pt idx="142">
                  <c:v>40322</c:v>
                </c:pt>
                <c:pt idx="143">
                  <c:v>40323</c:v>
                </c:pt>
                <c:pt idx="144">
                  <c:v>40324</c:v>
                </c:pt>
                <c:pt idx="145">
                  <c:v>40325</c:v>
                </c:pt>
                <c:pt idx="146">
                  <c:v>40326</c:v>
                </c:pt>
                <c:pt idx="147">
                  <c:v>40329</c:v>
                </c:pt>
                <c:pt idx="148">
                  <c:v>40330</c:v>
                </c:pt>
                <c:pt idx="149">
                  <c:v>40331</c:v>
                </c:pt>
                <c:pt idx="150">
                  <c:v>40332</c:v>
                </c:pt>
                <c:pt idx="151">
                  <c:v>40333</c:v>
                </c:pt>
                <c:pt idx="152">
                  <c:v>40336</c:v>
                </c:pt>
                <c:pt idx="153">
                  <c:v>40337</c:v>
                </c:pt>
                <c:pt idx="154">
                  <c:v>40338</c:v>
                </c:pt>
                <c:pt idx="155">
                  <c:v>40339</c:v>
                </c:pt>
                <c:pt idx="156">
                  <c:v>40340</c:v>
                </c:pt>
                <c:pt idx="157">
                  <c:v>40343</c:v>
                </c:pt>
                <c:pt idx="158">
                  <c:v>40344</c:v>
                </c:pt>
                <c:pt idx="159">
                  <c:v>40345</c:v>
                </c:pt>
                <c:pt idx="160">
                  <c:v>40346</c:v>
                </c:pt>
                <c:pt idx="161">
                  <c:v>40347</c:v>
                </c:pt>
                <c:pt idx="162">
                  <c:v>40350</c:v>
                </c:pt>
                <c:pt idx="163">
                  <c:v>40351</c:v>
                </c:pt>
                <c:pt idx="164">
                  <c:v>40352</c:v>
                </c:pt>
                <c:pt idx="165">
                  <c:v>40353</c:v>
                </c:pt>
                <c:pt idx="166">
                  <c:v>40354</c:v>
                </c:pt>
                <c:pt idx="167">
                  <c:v>40357</c:v>
                </c:pt>
                <c:pt idx="168">
                  <c:v>40358</c:v>
                </c:pt>
                <c:pt idx="169">
                  <c:v>40359</c:v>
                </c:pt>
                <c:pt idx="170">
                  <c:v>40360</c:v>
                </c:pt>
                <c:pt idx="171">
                  <c:v>40361</c:v>
                </c:pt>
                <c:pt idx="172">
                  <c:v>40364</c:v>
                </c:pt>
                <c:pt idx="173">
                  <c:v>40365</c:v>
                </c:pt>
                <c:pt idx="174">
                  <c:v>40366</c:v>
                </c:pt>
                <c:pt idx="175">
                  <c:v>40367</c:v>
                </c:pt>
                <c:pt idx="176">
                  <c:v>40368</c:v>
                </c:pt>
                <c:pt idx="177">
                  <c:v>40371</c:v>
                </c:pt>
                <c:pt idx="178">
                  <c:v>40372</c:v>
                </c:pt>
                <c:pt idx="179">
                  <c:v>40373</c:v>
                </c:pt>
                <c:pt idx="180">
                  <c:v>40374</c:v>
                </c:pt>
                <c:pt idx="181">
                  <c:v>40375</c:v>
                </c:pt>
                <c:pt idx="182">
                  <c:v>40378</c:v>
                </c:pt>
                <c:pt idx="183">
                  <c:v>40379</c:v>
                </c:pt>
                <c:pt idx="184">
                  <c:v>40380</c:v>
                </c:pt>
                <c:pt idx="185">
                  <c:v>40381</c:v>
                </c:pt>
                <c:pt idx="186">
                  <c:v>40382</c:v>
                </c:pt>
                <c:pt idx="187">
                  <c:v>40385</c:v>
                </c:pt>
                <c:pt idx="188">
                  <c:v>40386</c:v>
                </c:pt>
                <c:pt idx="189">
                  <c:v>40387</c:v>
                </c:pt>
                <c:pt idx="190">
                  <c:v>40388</c:v>
                </c:pt>
                <c:pt idx="191">
                  <c:v>40389</c:v>
                </c:pt>
                <c:pt idx="192">
                  <c:v>40392</c:v>
                </c:pt>
                <c:pt idx="193">
                  <c:v>40393</c:v>
                </c:pt>
                <c:pt idx="194">
                  <c:v>40394</c:v>
                </c:pt>
                <c:pt idx="195">
                  <c:v>40395</c:v>
                </c:pt>
                <c:pt idx="196">
                  <c:v>40396</c:v>
                </c:pt>
                <c:pt idx="197">
                  <c:v>40399</c:v>
                </c:pt>
                <c:pt idx="198">
                  <c:v>40400</c:v>
                </c:pt>
                <c:pt idx="199">
                  <c:v>40401</c:v>
                </c:pt>
                <c:pt idx="200">
                  <c:v>40402</c:v>
                </c:pt>
                <c:pt idx="201">
                  <c:v>40403</c:v>
                </c:pt>
                <c:pt idx="202">
                  <c:v>40406</c:v>
                </c:pt>
                <c:pt idx="203">
                  <c:v>40407</c:v>
                </c:pt>
                <c:pt idx="204">
                  <c:v>40408</c:v>
                </c:pt>
                <c:pt idx="205">
                  <c:v>40409</c:v>
                </c:pt>
                <c:pt idx="206">
                  <c:v>40410</c:v>
                </c:pt>
                <c:pt idx="207">
                  <c:v>40413</c:v>
                </c:pt>
                <c:pt idx="208">
                  <c:v>40414</c:v>
                </c:pt>
                <c:pt idx="209">
                  <c:v>40415</c:v>
                </c:pt>
                <c:pt idx="210">
                  <c:v>40416</c:v>
                </c:pt>
                <c:pt idx="211">
                  <c:v>40417</c:v>
                </c:pt>
                <c:pt idx="212">
                  <c:v>40420</c:v>
                </c:pt>
                <c:pt idx="213">
                  <c:v>40421</c:v>
                </c:pt>
                <c:pt idx="214">
                  <c:v>40422</c:v>
                </c:pt>
                <c:pt idx="215">
                  <c:v>40423</c:v>
                </c:pt>
                <c:pt idx="216">
                  <c:v>40424</c:v>
                </c:pt>
                <c:pt idx="217">
                  <c:v>40427</c:v>
                </c:pt>
                <c:pt idx="218">
                  <c:v>40428</c:v>
                </c:pt>
                <c:pt idx="219">
                  <c:v>40429</c:v>
                </c:pt>
                <c:pt idx="220">
                  <c:v>40430</c:v>
                </c:pt>
                <c:pt idx="221">
                  <c:v>40431</c:v>
                </c:pt>
                <c:pt idx="222">
                  <c:v>40434</c:v>
                </c:pt>
                <c:pt idx="223">
                  <c:v>40435</c:v>
                </c:pt>
                <c:pt idx="224">
                  <c:v>40436</c:v>
                </c:pt>
                <c:pt idx="225">
                  <c:v>40437</c:v>
                </c:pt>
                <c:pt idx="226">
                  <c:v>40438</c:v>
                </c:pt>
                <c:pt idx="227">
                  <c:v>40441</c:v>
                </c:pt>
                <c:pt idx="228">
                  <c:v>40442</c:v>
                </c:pt>
                <c:pt idx="229">
                  <c:v>40443</c:v>
                </c:pt>
                <c:pt idx="230">
                  <c:v>40444</c:v>
                </c:pt>
                <c:pt idx="231">
                  <c:v>40445</c:v>
                </c:pt>
                <c:pt idx="232">
                  <c:v>40448</c:v>
                </c:pt>
                <c:pt idx="233">
                  <c:v>40449</c:v>
                </c:pt>
                <c:pt idx="234">
                  <c:v>40450</c:v>
                </c:pt>
                <c:pt idx="235">
                  <c:v>40451</c:v>
                </c:pt>
                <c:pt idx="236">
                  <c:v>40452</c:v>
                </c:pt>
                <c:pt idx="237">
                  <c:v>40455</c:v>
                </c:pt>
                <c:pt idx="238">
                  <c:v>40456</c:v>
                </c:pt>
                <c:pt idx="239">
                  <c:v>40457</c:v>
                </c:pt>
                <c:pt idx="240">
                  <c:v>40458</c:v>
                </c:pt>
                <c:pt idx="241">
                  <c:v>40459</c:v>
                </c:pt>
                <c:pt idx="242">
                  <c:v>40462</c:v>
                </c:pt>
                <c:pt idx="243">
                  <c:v>40463</c:v>
                </c:pt>
                <c:pt idx="244">
                  <c:v>40464</c:v>
                </c:pt>
                <c:pt idx="245">
                  <c:v>40465</c:v>
                </c:pt>
                <c:pt idx="246">
                  <c:v>40466</c:v>
                </c:pt>
                <c:pt idx="247">
                  <c:v>40469</c:v>
                </c:pt>
                <c:pt idx="248">
                  <c:v>40470</c:v>
                </c:pt>
                <c:pt idx="249">
                  <c:v>40471</c:v>
                </c:pt>
                <c:pt idx="250">
                  <c:v>40472</c:v>
                </c:pt>
                <c:pt idx="251">
                  <c:v>40473</c:v>
                </c:pt>
                <c:pt idx="252">
                  <c:v>40476</c:v>
                </c:pt>
                <c:pt idx="253">
                  <c:v>40477</c:v>
                </c:pt>
                <c:pt idx="254">
                  <c:v>40478</c:v>
                </c:pt>
                <c:pt idx="255">
                  <c:v>40479</c:v>
                </c:pt>
                <c:pt idx="256">
                  <c:v>40480</c:v>
                </c:pt>
                <c:pt idx="257">
                  <c:v>40483</c:v>
                </c:pt>
                <c:pt idx="258">
                  <c:v>40484</c:v>
                </c:pt>
                <c:pt idx="259">
                  <c:v>40485</c:v>
                </c:pt>
                <c:pt idx="260">
                  <c:v>40486</c:v>
                </c:pt>
                <c:pt idx="261">
                  <c:v>40487</c:v>
                </c:pt>
                <c:pt idx="262">
                  <c:v>40490</c:v>
                </c:pt>
                <c:pt idx="263">
                  <c:v>40491</c:v>
                </c:pt>
                <c:pt idx="264">
                  <c:v>40492</c:v>
                </c:pt>
                <c:pt idx="265">
                  <c:v>40493</c:v>
                </c:pt>
                <c:pt idx="266">
                  <c:v>40494</c:v>
                </c:pt>
                <c:pt idx="267">
                  <c:v>40497</c:v>
                </c:pt>
                <c:pt idx="268">
                  <c:v>40498</c:v>
                </c:pt>
                <c:pt idx="269">
                  <c:v>40499</c:v>
                </c:pt>
                <c:pt idx="270">
                  <c:v>40500</c:v>
                </c:pt>
                <c:pt idx="271">
                  <c:v>40501</c:v>
                </c:pt>
                <c:pt idx="272">
                  <c:v>40504</c:v>
                </c:pt>
                <c:pt idx="273">
                  <c:v>40505</c:v>
                </c:pt>
                <c:pt idx="274">
                  <c:v>40506</c:v>
                </c:pt>
                <c:pt idx="275">
                  <c:v>40507</c:v>
                </c:pt>
                <c:pt idx="276">
                  <c:v>40508</c:v>
                </c:pt>
                <c:pt idx="277">
                  <c:v>40511</c:v>
                </c:pt>
                <c:pt idx="278">
                  <c:v>40512</c:v>
                </c:pt>
                <c:pt idx="279">
                  <c:v>40513</c:v>
                </c:pt>
                <c:pt idx="280">
                  <c:v>40514</c:v>
                </c:pt>
                <c:pt idx="281">
                  <c:v>40515</c:v>
                </c:pt>
                <c:pt idx="282">
                  <c:v>40518</c:v>
                </c:pt>
                <c:pt idx="283">
                  <c:v>40519</c:v>
                </c:pt>
                <c:pt idx="284">
                  <c:v>40520</c:v>
                </c:pt>
                <c:pt idx="285">
                  <c:v>40521</c:v>
                </c:pt>
                <c:pt idx="286">
                  <c:v>40522</c:v>
                </c:pt>
                <c:pt idx="287">
                  <c:v>40525</c:v>
                </c:pt>
                <c:pt idx="288">
                  <c:v>40526</c:v>
                </c:pt>
                <c:pt idx="289">
                  <c:v>40527</c:v>
                </c:pt>
                <c:pt idx="290">
                  <c:v>40528</c:v>
                </c:pt>
                <c:pt idx="291">
                  <c:v>40529</c:v>
                </c:pt>
                <c:pt idx="292">
                  <c:v>40532</c:v>
                </c:pt>
                <c:pt idx="293">
                  <c:v>40533</c:v>
                </c:pt>
                <c:pt idx="294">
                  <c:v>40534</c:v>
                </c:pt>
                <c:pt idx="295">
                  <c:v>40535</c:v>
                </c:pt>
                <c:pt idx="296">
                  <c:v>40536</c:v>
                </c:pt>
                <c:pt idx="297">
                  <c:v>40539</c:v>
                </c:pt>
                <c:pt idx="298">
                  <c:v>40540</c:v>
                </c:pt>
                <c:pt idx="299">
                  <c:v>40541</c:v>
                </c:pt>
                <c:pt idx="300">
                  <c:v>40542</c:v>
                </c:pt>
                <c:pt idx="301">
                  <c:v>40543</c:v>
                </c:pt>
                <c:pt idx="302">
                  <c:v>40546</c:v>
                </c:pt>
                <c:pt idx="303">
                  <c:v>40547</c:v>
                </c:pt>
                <c:pt idx="304">
                  <c:v>40548</c:v>
                </c:pt>
                <c:pt idx="305">
                  <c:v>40549</c:v>
                </c:pt>
                <c:pt idx="306">
                  <c:v>40550</c:v>
                </c:pt>
                <c:pt idx="307">
                  <c:v>40553</c:v>
                </c:pt>
                <c:pt idx="308">
                  <c:v>40554</c:v>
                </c:pt>
                <c:pt idx="309">
                  <c:v>40555</c:v>
                </c:pt>
                <c:pt idx="310">
                  <c:v>40556</c:v>
                </c:pt>
                <c:pt idx="311">
                  <c:v>40557</c:v>
                </c:pt>
                <c:pt idx="312">
                  <c:v>40560</c:v>
                </c:pt>
                <c:pt idx="313">
                  <c:v>40561</c:v>
                </c:pt>
                <c:pt idx="314">
                  <c:v>40562</c:v>
                </c:pt>
                <c:pt idx="315">
                  <c:v>40563</c:v>
                </c:pt>
                <c:pt idx="316">
                  <c:v>40564</c:v>
                </c:pt>
                <c:pt idx="317">
                  <c:v>40567</c:v>
                </c:pt>
                <c:pt idx="318">
                  <c:v>40568</c:v>
                </c:pt>
                <c:pt idx="319">
                  <c:v>40569</c:v>
                </c:pt>
                <c:pt idx="320">
                  <c:v>40570</c:v>
                </c:pt>
                <c:pt idx="321">
                  <c:v>40571</c:v>
                </c:pt>
                <c:pt idx="322">
                  <c:v>40574</c:v>
                </c:pt>
                <c:pt idx="323">
                  <c:v>40575</c:v>
                </c:pt>
                <c:pt idx="324">
                  <c:v>40576</c:v>
                </c:pt>
                <c:pt idx="325">
                  <c:v>40577</c:v>
                </c:pt>
                <c:pt idx="326">
                  <c:v>40578</c:v>
                </c:pt>
                <c:pt idx="327">
                  <c:v>40581</c:v>
                </c:pt>
                <c:pt idx="328">
                  <c:v>40582</c:v>
                </c:pt>
                <c:pt idx="329">
                  <c:v>40583</c:v>
                </c:pt>
                <c:pt idx="330">
                  <c:v>40584</c:v>
                </c:pt>
                <c:pt idx="331">
                  <c:v>40585</c:v>
                </c:pt>
                <c:pt idx="332">
                  <c:v>40588</c:v>
                </c:pt>
                <c:pt idx="333">
                  <c:v>40589</c:v>
                </c:pt>
                <c:pt idx="334">
                  <c:v>40590</c:v>
                </c:pt>
                <c:pt idx="335">
                  <c:v>40591</c:v>
                </c:pt>
                <c:pt idx="336">
                  <c:v>40592</c:v>
                </c:pt>
                <c:pt idx="337">
                  <c:v>40595</c:v>
                </c:pt>
                <c:pt idx="338">
                  <c:v>40596</c:v>
                </c:pt>
                <c:pt idx="339">
                  <c:v>40597</c:v>
                </c:pt>
                <c:pt idx="340">
                  <c:v>40598</c:v>
                </c:pt>
                <c:pt idx="341">
                  <c:v>40599</c:v>
                </c:pt>
                <c:pt idx="342">
                  <c:v>40602</c:v>
                </c:pt>
                <c:pt idx="343">
                  <c:v>40603</c:v>
                </c:pt>
                <c:pt idx="344">
                  <c:v>40604</c:v>
                </c:pt>
                <c:pt idx="345">
                  <c:v>40605</c:v>
                </c:pt>
                <c:pt idx="346">
                  <c:v>40606</c:v>
                </c:pt>
                <c:pt idx="347">
                  <c:v>40609</c:v>
                </c:pt>
                <c:pt idx="348">
                  <c:v>40610</c:v>
                </c:pt>
                <c:pt idx="349">
                  <c:v>40611</c:v>
                </c:pt>
                <c:pt idx="350">
                  <c:v>40612</c:v>
                </c:pt>
                <c:pt idx="351">
                  <c:v>40613</c:v>
                </c:pt>
                <c:pt idx="352">
                  <c:v>40616</c:v>
                </c:pt>
                <c:pt idx="353">
                  <c:v>40617</c:v>
                </c:pt>
                <c:pt idx="354">
                  <c:v>40618</c:v>
                </c:pt>
                <c:pt idx="355">
                  <c:v>40619</c:v>
                </c:pt>
                <c:pt idx="356">
                  <c:v>40620</c:v>
                </c:pt>
                <c:pt idx="357">
                  <c:v>40623</c:v>
                </c:pt>
                <c:pt idx="358">
                  <c:v>40624</c:v>
                </c:pt>
                <c:pt idx="359">
                  <c:v>40625</c:v>
                </c:pt>
                <c:pt idx="360">
                  <c:v>40626</c:v>
                </c:pt>
                <c:pt idx="361">
                  <c:v>40627</c:v>
                </c:pt>
                <c:pt idx="362">
                  <c:v>40630</c:v>
                </c:pt>
                <c:pt idx="363">
                  <c:v>40631</c:v>
                </c:pt>
                <c:pt idx="364">
                  <c:v>40632</c:v>
                </c:pt>
                <c:pt idx="365">
                  <c:v>40633</c:v>
                </c:pt>
                <c:pt idx="366">
                  <c:v>40634</c:v>
                </c:pt>
                <c:pt idx="367">
                  <c:v>40637</c:v>
                </c:pt>
                <c:pt idx="368">
                  <c:v>40638</c:v>
                </c:pt>
                <c:pt idx="369">
                  <c:v>40639</c:v>
                </c:pt>
                <c:pt idx="370">
                  <c:v>40640</c:v>
                </c:pt>
                <c:pt idx="371">
                  <c:v>40641</c:v>
                </c:pt>
                <c:pt idx="372">
                  <c:v>40644</c:v>
                </c:pt>
                <c:pt idx="373">
                  <c:v>40645</c:v>
                </c:pt>
                <c:pt idx="374">
                  <c:v>40646</c:v>
                </c:pt>
                <c:pt idx="375">
                  <c:v>40647</c:v>
                </c:pt>
                <c:pt idx="376">
                  <c:v>40648</c:v>
                </c:pt>
                <c:pt idx="377">
                  <c:v>40651</c:v>
                </c:pt>
                <c:pt idx="378">
                  <c:v>40652</c:v>
                </c:pt>
                <c:pt idx="379">
                  <c:v>40653</c:v>
                </c:pt>
                <c:pt idx="380">
                  <c:v>40654</c:v>
                </c:pt>
                <c:pt idx="381">
                  <c:v>40659</c:v>
                </c:pt>
                <c:pt idx="382">
                  <c:v>40660</c:v>
                </c:pt>
                <c:pt idx="383">
                  <c:v>40661</c:v>
                </c:pt>
                <c:pt idx="384">
                  <c:v>40662</c:v>
                </c:pt>
                <c:pt idx="385">
                  <c:v>40665</c:v>
                </c:pt>
                <c:pt idx="386">
                  <c:v>40666</c:v>
                </c:pt>
                <c:pt idx="387">
                  <c:v>40667</c:v>
                </c:pt>
                <c:pt idx="388">
                  <c:v>40668</c:v>
                </c:pt>
                <c:pt idx="389">
                  <c:v>40669</c:v>
                </c:pt>
                <c:pt idx="390">
                  <c:v>40672</c:v>
                </c:pt>
                <c:pt idx="391">
                  <c:v>40673</c:v>
                </c:pt>
                <c:pt idx="392">
                  <c:v>40674</c:v>
                </c:pt>
                <c:pt idx="393">
                  <c:v>40675</c:v>
                </c:pt>
                <c:pt idx="394">
                  <c:v>40676</c:v>
                </c:pt>
                <c:pt idx="395">
                  <c:v>40679</c:v>
                </c:pt>
                <c:pt idx="396">
                  <c:v>40680</c:v>
                </c:pt>
                <c:pt idx="397">
                  <c:v>40681</c:v>
                </c:pt>
                <c:pt idx="398">
                  <c:v>40682</c:v>
                </c:pt>
                <c:pt idx="399">
                  <c:v>40683</c:v>
                </c:pt>
                <c:pt idx="400">
                  <c:v>40686</c:v>
                </c:pt>
                <c:pt idx="401">
                  <c:v>40687</c:v>
                </c:pt>
                <c:pt idx="402">
                  <c:v>40688</c:v>
                </c:pt>
                <c:pt idx="403">
                  <c:v>40689</c:v>
                </c:pt>
                <c:pt idx="404">
                  <c:v>40690</c:v>
                </c:pt>
                <c:pt idx="405">
                  <c:v>40693</c:v>
                </c:pt>
                <c:pt idx="406">
                  <c:v>40694</c:v>
                </c:pt>
                <c:pt idx="407">
                  <c:v>40695</c:v>
                </c:pt>
                <c:pt idx="408">
                  <c:v>40696</c:v>
                </c:pt>
                <c:pt idx="409">
                  <c:v>40697</c:v>
                </c:pt>
                <c:pt idx="410">
                  <c:v>40700</c:v>
                </c:pt>
                <c:pt idx="411">
                  <c:v>40701</c:v>
                </c:pt>
                <c:pt idx="412">
                  <c:v>40702</c:v>
                </c:pt>
                <c:pt idx="413">
                  <c:v>40703</c:v>
                </c:pt>
                <c:pt idx="414">
                  <c:v>40704</c:v>
                </c:pt>
                <c:pt idx="415">
                  <c:v>40707</c:v>
                </c:pt>
                <c:pt idx="416">
                  <c:v>40708</c:v>
                </c:pt>
                <c:pt idx="417">
                  <c:v>40709</c:v>
                </c:pt>
                <c:pt idx="418">
                  <c:v>40710</c:v>
                </c:pt>
                <c:pt idx="419">
                  <c:v>40711</c:v>
                </c:pt>
                <c:pt idx="420">
                  <c:v>40714</c:v>
                </c:pt>
                <c:pt idx="421">
                  <c:v>40715</c:v>
                </c:pt>
                <c:pt idx="422">
                  <c:v>40716</c:v>
                </c:pt>
                <c:pt idx="423">
                  <c:v>40717</c:v>
                </c:pt>
                <c:pt idx="424">
                  <c:v>40718</c:v>
                </c:pt>
                <c:pt idx="425">
                  <c:v>40721</c:v>
                </c:pt>
                <c:pt idx="426">
                  <c:v>40722</c:v>
                </c:pt>
                <c:pt idx="427">
                  <c:v>40723</c:v>
                </c:pt>
                <c:pt idx="428">
                  <c:v>40724</c:v>
                </c:pt>
                <c:pt idx="429">
                  <c:v>40725</c:v>
                </c:pt>
                <c:pt idx="430">
                  <c:v>40728</c:v>
                </c:pt>
                <c:pt idx="431">
                  <c:v>40729</c:v>
                </c:pt>
                <c:pt idx="432">
                  <c:v>40730</c:v>
                </c:pt>
                <c:pt idx="433">
                  <c:v>40731</c:v>
                </c:pt>
                <c:pt idx="434">
                  <c:v>40732</c:v>
                </c:pt>
                <c:pt idx="435">
                  <c:v>40735</c:v>
                </c:pt>
                <c:pt idx="436">
                  <c:v>40736</c:v>
                </c:pt>
                <c:pt idx="437">
                  <c:v>40737</c:v>
                </c:pt>
                <c:pt idx="438">
                  <c:v>40738</c:v>
                </c:pt>
                <c:pt idx="439">
                  <c:v>40739</c:v>
                </c:pt>
                <c:pt idx="440">
                  <c:v>40742</c:v>
                </c:pt>
                <c:pt idx="441">
                  <c:v>40743</c:v>
                </c:pt>
                <c:pt idx="442">
                  <c:v>40744</c:v>
                </c:pt>
                <c:pt idx="443">
                  <c:v>40745</c:v>
                </c:pt>
                <c:pt idx="444">
                  <c:v>40746</c:v>
                </c:pt>
                <c:pt idx="445">
                  <c:v>40749</c:v>
                </c:pt>
                <c:pt idx="446">
                  <c:v>40750</c:v>
                </c:pt>
                <c:pt idx="447">
                  <c:v>40751</c:v>
                </c:pt>
                <c:pt idx="448">
                  <c:v>40752</c:v>
                </c:pt>
                <c:pt idx="449">
                  <c:v>40753</c:v>
                </c:pt>
                <c:pt idx="450">
                  <c:v>40756</c:v>
                </c:pt>
                <c:pt idx="451">
                  <c:v>40757</c:v>
                </c:pt>
                <c:pt idx="452">
                  <c:v>40758</c:v>
                </c:pt>
                <c:pt idx="453">
                  <c:v>40759</c:v>
                </c:pt>
                <c:pt idx="454">
                  <c:v>40760</c:v>
                </c:pt>
                <c:pt idx="455">
                  <c:v>40763</c:v>
                </c:pt>
                <c:pt idx="456">
                  <c:v>40764</c:v>
                </c:pt>
                <c:pt idx="457">
                  <c:v>40765</c:v>
                </c:pt>
                <c:pt idx="458">
                  <c:v>40766</c:v>
                </c:pt>
                <c:pt idx="459">
                  <c:v>40767</c:v>
                </c:pt>
                <c:pt idx="460">
                  <c:v>40770</c:v>
                </c:pt>
                <c:pt idx="461">
                  <c:v>40771</c:v>
                </c:pt>
                <c:pt idx="462">
                  <c:v>40772</c:v>
                </c:pt>
                <c:pt idx="463">
                  <c:v>40773</c:v>
                </c:pt>
                <c:pt idx="464">
                  <c:v>40774</c:v>
                </c:pt>
                <c:pt idx="465">
                  <c:v>40777</c:v>
                </c:pt>
                <c:pt idx="466">
                  <c:v>40778</c:v>
                </c:pt>
                <c:pt idx="467">
                  <c:v>40779</c:v>
                </c:pt>
                <c:pt idx="468">
                  <c:v>40780</c:v>
                </c:pt>
                <c:pt idx="469">
                  <c:v>40781</c:v>
                </c:pt>
                <c:pt idx="470">
                  <c:v>40784</c:v>
                </c:pt>
                <c:pt idx="471">
                  <c:v>40785</c:v>
                </c:pt>
                <c:pt idx="472">
                  <c:v>40786</c:v>
                </c:pt>
                <c:pt idx="473">
                  <c:v>40787</c:v>
                </c:pt>
                <c:pt idx="474">
                  <c:v>40788</c:v>
                </c:pt>
                <c:pt idx="475">
                  <c:v>40791</c:v>
                </c:pt>
                <c:pt idx="476">
                  <c:v>40792</c:v>
                </c:pt>
                <c:pt idx="477">
                  <c:v>40793</c:v>
                </c:pt>
                <c:pt idx="478">
                  <c:v>40794</c:v>
                </c:pt>
                <c:pt idx="479">
                  <c:v>40795</c:v>
                </c:pt>
                <c:pt idx="480">
                  <c:v>40798</c:v>
                </c:pt>
                <c:pt idx="481">
                  <c:v>40799</c:v>
                </c:pt>
                <c:pt idx="482">
                  <c:v>40800</c:v>
                </c:pt>
                <c:pt idx="483">
                  <c:v>40801</c:v>
                </c:pt>
                <c:pt idx="484">
                  <c:v>40802</c:v>
                </c:pt>
                <c:pt idx="485">
                  <c:v>40805</c:v>
                </c:pt>
                <c:pt idx="486">
                  <c:v>40806</c:v>
                </c:pt>
                <c:pt idx="487">
                  <c:v>40807</c:v>
                </c:pt>
                <c:pt idx="488">
                  <c:v>40808</c:v>
                </c:pt>
                <c:pt idx="489">
                  <c:v>40809</c:v>
                </c:pt>
                <c:pt idx="490">
                  <c:v>40812</c:v>
                </c:pt>
                <c:pt idx="491">
                  <c:v>40813</c:v>
                </c:pt>
                <c:pt idx="492">
                  <c:v>40814</c:v>
                </c:pt>
                <c:pt idx="493">
                  <c:v>40815</c:v>
                </c:pt>
                <c:pt idx="494">
                  <c:v>40816</c:v>
                </c:pt>
                <c:pt idx="495">
                  <c:v>40819</c:v>
                </c:pt>
                <c:pt idx="496">
                  <c:v>40820</c:v>
                </c:pt>
                <c:pt idx="497">
                  <c:v>40821</c:v>
                </c:pt>
                <c:pt idx="498">
                  <c:v>40822</c:v>
                </c:pt>
                <c:pt idx="499">
                  <c:v>40823</c:v>
                </c:pt>
                <c:pt idx="500">
                  <c:v>40826</c:v>
                </c:pt>
                <c:pt idx="501">
                  <c:v>40827</c:v>
                </c:pt>
                <c:pt idx="502">
                  <c:v>40828</c:v>
                </c:pt>
                <c:pt idx="503">
                  <c:v>40829</c:v>
                </c:pt>
                <c:pt idx="504">
                  <c:v>40830</c:v>
                </c:pt>
                <c:pt idx="505">
                  <c:v>40833</c:v>
                </c:pt>
                <c:pt idx="506">
                  <c:v>40834</c:v>
                </c:pt>
                <c:pt idx="507">
                  <c:v>40835</c:v>
                </c:pt>
                <c:pt idx="508">
                  <c:v>40836</c:v>
                </c:pt>
                <c:pt idx="509">
                  <c:v>40837</c:v>
                </c:pt>
                <c:pt idx="510">
                  <c:v>40840</c:v>
                </c:pt>
                <c:pt idx="511">
                  <c:v>40841</c:v>
                </c:pt>
                <c:pt idx="512">
                  <c:v>40842</c:v>
                </c:pt>
                <c:pt idx="513">
                  <c:v>40843</c:v>
                </c:pt>
                <c:pt idx="514">
                  <c:v>40844</c:v>
                </c:pt>
                <c:pt idx="515">
                  <c:v>40847</c:v>
                </c:pt>
                <c:pt idx="516">
                  <c:v>40848</c:v>
                </c:pt>
                <c:pt idx="517">
                  <c:v>40849</c:v>
                </c:pt>
                <c:pt idx="518">
                  <c:v>40850</c:v>
                </c:pt>
                <c:pt idx="519">
                  <c:v>40851</c:v>
                </c:pt>
                <c:pt idx="520">
                  <c:v>40854</c:v>
                </c:pt>
                <c:pt idx="521">
                  <c:v>40855</c:v>
                </c:pt>
                <c:pt idx="522">
                  <c:v>40856</c:v>
                </c:pt>
                <c:pt idx="523">
                  <c:v>40857</c:v>
                </c:pt>
                <c:pt idx="524">
                  <c:v>40858</c:v>
                </c:pt>
                <c:pt idx="525">
                  <c:v>40861</c:v>
                </c:pt>
                <c:pt idx="526">
                  <c:v>40862</c:v>
                </c:pt>
                <c:pt idx="527">
                  <c:v>40863</c:v>
                </c:pt>
                <c:pt idx="528">
                  <c:v>40864</c:v>
                </c:pt>
                <c:pt idx="529">
                  <c:v>40865</c:v>
                </c:pt>
                <c:pt idx="530">
                  <c:v>40868</c:v>
                </c:pt>
                <c:pt idx="531">
                  <c:v>40869</c:v>
                </c:pt>
                <c:pt idx="532">
                  <c:v>40870</c:v>
                </c:pt>
                <c:pt idx="533">
                  <c:v>40871</c:v>
                </c:pt>
                <c:pt idx="534">
                  <c:v>40872</c:v>
                </c:pt>
                <c:pt idx="535">
                  <c:v>40875</c:v>
                </c:pt>
                <c:pt idx="536">
                  <c:v>40876</c:v>
                </c:pt>
                <c:pt idx="537">
                  <c:v>40877</c:v>
                </c:pt>
                <c:pt idx="538">
                  <c:v>40878</c:v>
                </c:pt>
                <c:pt idx="539">
                  <c:v>40879</c:v>
                </c:pt>
                <c:pt idx="540">
                  <c:v>40882</c:v>
                </c:pt>
                <c:pt idx="541">
                  <c:v>40883</c:v>
                </c:pt>
                <c:pt idx="542">
                  <c:v>40884</c:v>
                </c:pt>
                <c:pt idx="543">
                  <c:v>40885</c:v>
                </c:pt>
                <c:pt idx="544">
                  <c:v>40886</c:v>
                </c:pt>
                <c:pt idx="545">
                  <c:v>40889</c:v>
                </c:pt>
                <c:pt idx="546">
                  <c:v>40890</c:v>
                </c:pt>
                <c:pt idx="547">
                  <c:v>40891</c:v>
                </c:pt>
                <c:pt idx="548">
                  <c:v>40892</c:v>
                </c:pt>
                <c:pt idx="549">
                  <c:v>40893</c:v>
                </c:pt>
                <c:pt idx="550">
                  <c:v>40896</c:v>
                </c:pt>
                <c:pt idx="551">
                  <c:v>40897</c:v>
                </c:pt>
                <c:pt idx="552">
                  <c:v>40898</c:v>
                </c:pt>
                <c:pt idx="553">
                  <c:v>40899</c:v>
                </c:pt>
                <c:pt idx="554">
                  <c:v>40900</c:v>
                </c:pt>
                <c:pt idx="555">
                  <c:v>40904</c:v>
                </c:pt>
                <c:pt idx="556">
                  <c:v>40905</c:v>
                </c:pt>
                <c:pt idx="557">
                  <c:v>40906</c:v>
                </c:pt>
                <c:pt idx="558">
                  <c:v>40907</c:v>
                </c:pt>
                <c:pt idx="559">
                  <c:v>40910</c:v>
                </c:pt>
                <c:pt idx="560">
                  <c:v>40911</c:v>
                </c:pt>
                <c:pt idx="561">
                  <c:v>40912</c:v>
                </c:pt>
                <c:pt idx="562">
                  <c:v>40913</c:v>
                </c:pt>
                <c:pt idx="563">
                  <c:v>40914</c:v>
                </c:pt>
                <c:pt idx="564">
                  <c:v>40917</c:v>
                </c:pt>
                <c:pt idx="565">
                  <c:v>40918</c:v>
                </c:pt>
                <c:pt idx="566">
                  <c:v>40919</c:v>
                </c:pt>
                <c:pt idx="567">
                  <c:v>40920</c:v>
                </c:pt>
                <c:pt idx="568">
                  <c:v>40921</c:v>
                </c:pt>
                <c:pt idx="569">
                  <c:v>40924</c:v>
                </c:pt>
                <c:pt idx="570">
                  <c:v>40925</c:v>
                </c:pt>
                <c:pt idx="571">
                  <c:v>40926</c:v>
                </c:pt>
                <c:pt idx="572">
                  <c:v>40927</c:v>
                </c:pt>
                <c:pt idx="573">
                  <c:v>40928</c:v>
                </c:pt>
                <c:pt idx="574">
                  <c:v>40931</c:v>
                </c:pt>
                <c:pt idx="575">
                  <c:v>40932</c:v>
                </c:pt>
                <c:pt idx="576">
                  <c:v>40933</c:v>
                </c:pt>
                <c:pt idx="577">
                  <c:v>40934</c:v>
                </c:pt>
                <c:pt idx="578">
                  <c:v>40935</c:v>
                </c:pt>
                <c:pt idx="579">
                  <c:v>40938</c:v>
                </c:pt>
                <c:pt idx="580">
                  <c:v>40939</c:v>
                </c:pt>
                <c:pt idx="581">
                  <c:v>40940</c:v>
                </c:pt>
                <c:pt idx="582">
                  <c:v>40941</c:v>
                </c:pt>
                <c:pt idx="583">
                  <c:v>40942</c:v>
                </c:pt>
                <c:pt idx="584">
                  <c:v>40945</c:v>
                </c:pt>
                <c:pt idx="585">
                  <c:v>40946</c:v>
                </c:pt>
                <c:pt idx="586">
                  <c:v>40947</c:v>
                </c:pt>
                <c:pt idx="587">
                  <c:v>40948</c:v>
                </c:pt>
                <c:pt idx="588">
                  <c:v>40949</c:v>
                </c:pt>
                <c:pt idx="589">
                  <c:v>40952</c:v>
                </c:pt>
                <c:pt idx="590">
                  <c:v>40953</c:v>
                </c:pt>
                <c:pt idx="591">
                  <c:v>40954</c:v>
                </c:pt>
                <c:pt idx="592">
                  <c:v>40955</c:v>
                </c:pt>
                <c:pt idx="593">
                  <c:v>40956</c:v>
                </c:pt>
                <c:pt idx="594">
                  <c:v>40959</c:v>
                </c:pt>
                <c:pt idx="595">
                  <c:v>40960</c:v>
                </c:pt>
                <c:pt idx="596">
                  <c:v>40961</c:v>
                </c:pt>
                <c:pt idx="597">
                  <c:v>40962</c:v>
                </c:pt>
                <c:pt idx="598">
                  <c:v>40963</c:v>
                </c:pt>
                <c:pt idx="599">
                  <c:v>40966</c:v>
                </c:pt>
                <c:pt idx="600">
                  <c:v>40967</c:v>
                </c:pt>
                <c:pt idx="601">
                  <c:v>40968</c:v>
                </c:pt>
                <c:pt idx="602">
                  <c:v>40969</c:v>
                </c:pt>
                <c:pt idx="603">
                  <c:v>40970</c:v>
                </c:pt>
                <c:pt idx="604">
                  <c:v>40973</c:v>
                </c:pt>
                <c:pt idx="605">
                  <c:v>40974</c:v>
                </c:pt>
                <c:pt idx="606">
                  <c:v>40975</c:v>
                </c:pt>
                <c:pt idx="607">
                  <c:v>40976</c:v>
                </c:pt>
                <c:pt idx="608">
                  <c:v>40977</c:v>
                </c:pt>
                <c:pt idx="609">
                  <c:v>40980</c:v>
                </c:pt>
                <c:pt idx="610">
                  <c:v>40981</c:v>
                </c:pt>
                <c:pt idx="611">
                  <c:v>40982</c:v>
                </c:pt>
                <c:pt idx="612">
                  <c:v>40983</c:v>
                </c:pt>
                <c:pt idx="613">
                  <c:v>40984</c:v>
                </c:pt>
                <c:pt idx="614">
                  <c:v>40987</c:v>
                </c:pt>
                <c:pt idx="615">
                  <c:v>40988</c:v>
                </c:pt>
                <c:pt idx="616">
                  <c:v>40989</c:v>
                </c:pt>
                <c:pt idx="617">
                  <c:v>40990</c:v>
                </c:pt>
                <c:pt idx="618">
                  <c:v>40991</c:v>
                </c:pt>
                <c:pt idx="619">
                  <c:v>40994</c:v>
                </c:pt>
                <c:pt idx="620">
                  <c:v>40995</c:v>
                </c:pt>
                <c:pt idx="621">
                  <c:v>40996</c:v>
                </c:pt>
                <c:pt idx="622">
                  <c:v>40997</c:v>
                </c:pt>
                <c:pt idx="623">
                  <c:v>40998</c:v>
                </c:pt>
                <c:pt idx="624">
                  <c:v>41001</c:v>
                </c:pt>
                <c:pt idx="625">
                  <c:v>41002</c:v>
                </c:pt>
                <c:pt idx="626">
                  <c:v>41003</c:v>
                </c:pt>
                <c:pt idx="627">
                  <c:v>41004</c:v>
                </c:pt>
                <c:pt idx="628">
                  <c:v>41009</c:v>
                </c:pt>
                <c:pt idx="629">
                  <c:v>41010</c:v>
                </c:pt>
                <c:pt idx="630">
                  <c:v>41011</c:v>
                </c:pt>
                <c:pt idx="631">
                  <c:v>41012</c:v>
                </c:pt>
                <c:pt idx="632">
                  <c:v>41015</c:v>
                </c:pt>
                <c:pt idx="633">
                  <c:v>41016</c:v>
                </c:pt>
                <c:pt idx="634">
                  <c:v>41017</c:v>
                </c:pt>
                <c:pt idx="635">
                  <c:v>41018</c:v>
                </c:pt>
                <c:pt idx="636">
                  <c:v>41019</c:v>
                </c:pt>
                <c:pt idx="637">
                  <c:v>41022</c:v>
                </c:pt>
                <c:pt idx="638">
                  <c:v>41023</c:v>
                </c:pt>
                <c:pt idx="639">
                  <c:v>41024</c:v>
                </c:pt>
                <c:pt idx="640">
                  <c:v>41025</c:v>
                </c:pt>
                <c:pt idx="641">
                  <c:v>41026</c:v>
                </c:pt>
                <c:pt idx="642">
                  <c:v>41029</c:v>
                </c:pt>
                <c:pt idx="643">
                  <c:v>41030</c:v>
                </c:pt>
                <c:pt idx="644">
                  <c:v>41031</c:v>
                </c:pt>
                <c:pt idx="645">
                  <c:v>41032</c:v>
                </c:pt>
                <c:pt idx="646">
                  <c:v>41033</c:v>
                </c:pt>
                <c:pt idx="647">
                  <c:v>41036</c:v>
                </c:pt>
                <c:pt idx="648">
                  <c:v>41037</c:v>
                </c:pt>
                <c:pt idx="649">
                  <c:v>41038</c:v>
                </c:pt>
                <c:pt idx="650">
                  <c:v>41039</c:v>
                </c:pt>
                <c:pt idx="651">
                  <c:v>41040</c:v>
                </c:pt>
                <c:pt idx="652">
                  <c:v>41043</c:v>
                </c:pt>
                <c:pt idx="653">
                  <c:v>41044</c:v>
                </c:pt>
                <c:pt idx="654">
                  <c:v>41045</c:v>
                </c:pt>
                <c:pt idx="655">
                  <c:v>41046</c:v>
                </c:pt>
                <c:pt idx="656">
                  <c:v>41047</c:v>
                </c:pt>
                <c:pt idx="657">
                  <c:v>41050</c:v>
                </c:pt>
                <c:pt idx="658">
                  <c:v>41051</c:v>
                </c:pt>
                <c:pt idx="659">
                  <c:v>41052</c:v>
                </c:pt>
                <c:pt idx="660">
                  <c:v>41053</c:v>
                </c:pt>
                <c:pt idx="661">
                  <c:v>41054</c:v>
                </c:pt>
                <c:pt idx="662">
                  <c:v>41057</c:v>
                </c:pt>
                <c:pt idx="663">
                  <c:v>41058</c:v>
                </c:pt>
                <c:pt idx="664">
                  <c:v>41059</c:v>
                </c:pt>
                <c:pt idx="665">
                  <c:v>41060</c:v>
                </c:pt>
                <c:pt idx="666">
                  <c:v>41061</c:v>
                </c:pt>
                <c:pt idx="667">
                  <c:v>41064</c:v>
                </c:pt>
                <c:pt idx="668">
                  <c:v>41065</c:v>
                </c:pt>
                <c:pt idx="669">
                  <c:v>41066</c:v>
                </c:pt>
                <c:pt idx="670">
                  <c:v>41067</c:v>
                </c:pt>
                <c:pt idx="671">
                  <c:v>41068</c:v>
                </c:pt>
                <c:pt idx="672">
                  <c:v>41071</c:v>
                </c:pt>
                <c:pt idx="673">
                  <c:v>41072</c:v>
                </c:pt>
                <c:pt idx="674">
                  <c:v>41073</c:v>
                </c:pt>
                <c:pt idx="675">
                  <c:v>41074</c:v>
                </c:pt>
                <c:pt idx="676">
                  <c:v>41075</c:v>
                </c:pt>
                <c:pt idx="677">
                  <c:v>41078</c:v>
                </c:pt>
                <c:pt idx="678">
                  <c:v>41079</c:v>
                </c:pt>
                <c:pt idx="679">
                  <c:v>41080</c:v>
                </c:pt>
                <c:pt idx="680">
                  <c:v>41081</c:v>
                </c:pt>
                <c:pt idx="681">
                  <c:v>41082</c:v>
                </c:pt>
                <c:pt idx="682">
                  <c:v>41085</c:v>
                </c:pt>
                <c:pt idx="683">
                  <c:v>41086</c:v>
                </c:pt>
                <c:pt idx="684">
                  <c:v>41087</c:v>
                </c:pt>
                <c:pt idx="685">
                  <c:v>41088</c:v>
                </c:pt>
                <c:pt idx="686">
                  <c:v>41089</c:v>
                </c:pt>
                <c:pt idx="687">
                  <c:v>41092</c:v>
                </c:pt>
                <c:pt idx="688">
                  <c:v>41093</c:v>
                </c:pt>
                <c:pt idx="689">
                  <c:v>41094</c:v>
                </c:pt>
                <c:pt idx="690">
                  <c:v>41095</c:v>
                </c:pt>
                <c:pt idx="691">
                  <c:v>41096</c:v>
                </c:pt>
                <c:pt idx="692">
                  <c:v>41099</c:v>
                </c:pt>
                <c:pt idx="693">
                  <c:v>41100</c:v>
                </c:pt>
                <c:pt idx="694">
                  <c:v>41101</c:v>
                </c:pt>
                <c:pt idx="695">
                  <c:v>41102</c:v>
                </c:pt>
                <c:pt idx="696">
                  <c:v>41103</c:v>
                </c:pt>
                <c:pt idx="697">
                  <c:v>41106</c:v>
                </c:pt>
                <c:pt idx="698">
                  <c:v>41107</c:v>
                </c:pt>
                <c:pt idx="699">
                  <c:v>41108</c:v>
                </c:pt>
                <c:pt idx="700">
                  <c:v>41109</c:v>
                </c:pt>
                <c:pt idx="701">
                  <c:v>41110</c:v>
                </c:pt>
                <c:pt idx="702">
                  <c:v>41113</c:v>
                </c:pt>
                <c:pt idx="703">
                  <c:v>41114</c:v>
                </c:pt>
                <c:pt idx="704">
                  <c:v>41115</c:v>
                </c:pt>
                <c:pt idx="705">
                  <c:v>41116</c:v>
                </c:pt>
                <c:pt idx="706">
                  <c:v>41117</c:v>
                </c:pt>
                <c:pt idx="707">
                  <c:v>41120</c:v>
                </c:pt>
                <c:pt idx="708">
                  <c:v>41121</c:v>
                </c:pt>
                <c:pt idx="709">
                  <c:v>41122</c:v>
                </c:pt>
                <c:pt idx="710">
                  <c:v>41123</c:v>
                </c:pt>
                <c:pt idx="711">
                  <c:v>41124</c:v>
                </c:pt>
                <c:pt idx="712">
                  <c:v>41127</c:v>
                </c:pt>
                <c:pt idx="713">
                  <c:v>41128</c:v>
                </c:pt>
                <c:pt idx="714">
                  <c:v>41129</c:v>
                </c:pt>
                <c:pt idx="715">
                  <c:v>41130</c:v>
                </c:pt>
                <c:pt idx="716">
                  <c:v>41131</c:v>
                </c:pt>
                <c:pt idx="717">
                  <c:v>41134</c:v>
                </c:pt>
                <c:pt idx="718">
                  <c:v>41135</c:v>
                </c:pt>
                <c:pt idx="719">
                  <c:v>41136</c:v>
                </c:pt>
                <c:pt idx="720">
                  <c:v>41137</c:v>
                </c:pt>
                <c:pt idx="721">
                  <c:v>41138</c:v>
                </c:pt>
                <c:pt idx="722">
                  <c:v>41141</c:v>
                </c:pt>
                <c:pt idx="723">
                  <c:v>41142</c:v>
                </c:pt>
                <c:pt idx="724">
                  <c:v>41143</c:v>
                </c:pt>
                <c:pt idx="725">
                  <c:v>41144</c:v>
                </c:pt>
                <c:pt idx="726">
                  <c:v>41145</c:v>
                </c:pt>
                <c:pt idx="727">
                  <c:v>41148</c:v>
                </c:pt>
                <c:pt idx="728">
                  <c:v>41149</c:v>
                </c:pt>
                <c:pt idx="729">
                  <c:v>41150</c:v>
                </c:pt>
                <c:pt idx="730">
                  <c:v>41151</c:v>
                </c:pt>
                <c:pt idx="731">
                  <c:v>41152</c:v>
                </c:pt>
                <c:pt idx="732">
                  <c:v>41155</c:v>
                </c:pt>
                <c:pt idx="733">
                  <c:v>41156</c:v>
                </c:pt>
                <c:pt idx="734">
                  <c:v>41157</c:v>
                </c:pt>
                <c:pt idx="735">
                  <c:v>41158</c:v>
                </c:pt>
                <c:pt idx="736">
                  <c:v>41159</c:v>
                </c:pt>
                <c:pt idx="737">
                  <c:v>41162</c:v>
                </c:pt>
                <c:pt idx="738">
                  <c:v>41163</c:v>
                </c:pt>
                <c:pt idx="739">
                  <c:v>41164</c:v>
                </c:pt>
                <c:pt idx="740">
                  <c:v>41165</c:v>
                </c:pt>
                <c:pt idx="741">
                  <c:v>41166</c:v>
                </c:pt>
                <c:pt idx="742">
                  <c:v>41169</c:v>
                </c:pt>
                <c:pt idx="743">
                  <c:v>41170</c:v>
                </c:pt>
                <c:pt idx="744">
                  <c:v>41171</c:v>
                </c:pt>
                <c:pt idx="745">
                  <c:v>41172</c:v>
                </c:pt>
                <c:pt idx="746">
                  <c:v>41173</c:v>
                </c:pt>
                <c:pt idx="747">
                  <c:v>41176</c:v>
                </c:pt>
                <c:pt idx="748">
                  <c:v>41177</c:v>
                </c:pt>
                <c:pt idx="749">
                  <c:v>41178</c:v>
                </c:pt>
                <c:pt idx="750">
                  <c:v>41179</c:v>
                </c:pt>
                <c:pt idx="751">
                  <c:v>41180</c:v>
                </c:pt>
                <c:pt idx="752">
                  <c:v>41183</c:v>
                </c:pt>
                <c:pt idx="753">
                  <c:v>41184</c:v>
                </c:pt>
                <c:pt idx="754">
                  <c:v>41185</c:v>
                </c:pt>
                <c:pt idx="755">
                  <c:v>41186</c:v>
                </c:pt>
                <c:pt idx="756">
                  <c:v>41187</c:v>
                </c:pt>
                <c:pt idx="757">
                  <c:v>41190</c:v>
                </c:pt>
                <c:pt idx="758">
                  <c:v>41191</c:v>
                </c:pt>
                <c:pt idx="759">
                  <c:v>41192</c:v>
                </c:pt>
                <c:pt idx="760">
                  <c:v>41193</c:v>
                </c:pt>
                <c:pt idx="761">
                  <c:v>41194</c:v>
                </c:pt>
                <c:pt idx="762">
                  <c:v>41197</c:v>
                </c:pt>
                <c:pt idx="763">
                  <c:v>41198</c:v>
                </c:pt>
                <c:pt idx="764">
                  <c:v>41199</c:v>
                </c:pt>
                <c:pt idx="765">
                  <c:v>41200</c:v>
                </c:pt>
                <c:pt idx="766">
                  <c:v>41201</c:v>
                </c:pt>
                <c:pt idx="767">
                  <c:v>41204</c:v>
                </c:pt>
                <c:pt idx="768">
                  <c:v>41205</c:v>
                </c:pt>
                <c:pt idx="769">
                  <c:v>41206</c:v>
                </c:pt>
                <c:pt idx="770">
                  <c:v>41207</c:v>
                </c:pt>
                <c:pt idx="771">
                  <c:v>41208</c:v>
                </c:pt>
                <c:pt idx="772">
                  <c:v>41211</c:v>
                </c:pt>
                <c:pt idx="773">
                  <c:v>41212</c:v>
                </c:pt>
                <c:pt idx="774">
                  <c:v>41213</c:v>
                </c:pt>
                <c:pt idx="775">
                  <c:v>41214</c:v>
                </c:pt>
                <c:pt idx="776">
                  <c:v>41215</c:v>
                </c:pt>
                <c:pt idx="777">
                  <c:v>41218</c:v>
                </c:pt>
                <c:pt idx="778">
                  <c:v>41219</c:v>
                </c:pt>
                <c:pt idx="779">
                  <c:v>41220</c:v>
                </c:pt>
                <c:pt idx="780">
                  <c:v>41221</c:v>
                </c:pt>
                <c:pt idx="781">
                  <c:v>41222</c:v>
                </c:pt>
                <c:pt idx="782">
                  <c:v>41225</c:v>
                </c:pt>
                <c:pt idx="783">
                  <c:v>41226</c:v>
                </c:pt>
                <c:pt idx="784">
                  <c:v>41227</c:v>
                </c:pt>
                <c:pt idx="785">
                  <c:v>41228</c:v>
                </c:pt>
                <c:pt idx="786">
                  <c:v>41229</c:v>
                </c:pt>
                <c:pt idx="787">
                  <c:v>41232</c:v>
                </c:pt>
                <c:pt idx="788">
                  <c:v>41233</c:v>
                </c:pt>
                <c:pt idx="789">
                  <c:v>41234</c:v>
                </c:pt>
                <c:pt idx="790">
                  <c:v>41235</c:v>
                </c:pt>
                <c:pt idx="791">
                  <c:v>41236</c:v>
                </c:pt>
                <c:pt idx="792">
                  <c:v>41239</c:v>
                </c:pt>
                <c:pt idx="793">
                  <c:v>41240</c:v>
                </c:pt>
                <c:pt idx="794">
                  <c:v>41241</c:v>
                </c:pt>
                <c:pt idx="795">
                  <c:v>41242</c:v>
                </c:pt>
                <c:pt idx="796">
                  <c:v>41243</c:v>
                </c:pt>
                <c:pt idx="797">
                  <c:v>41246</c:v>
                </c:pt>
                <c:pt idx="798">
                  <c:v>41247</c:v>
                </c:pt>
                <c:pt idx="799">
                  <c:v>41248</c:v>
                </c:pt>
                <c:pt idx="800">
                  <c:v>41249</c:v>
                </c:pt>
                <c:pt idx="801">
                  <c:v>41250</c:v>
                </c:pt>
                <c:pt idx="802">
                  <c:v>41253</c:v>
                </c:pt>
                <c:pt idx="803">
                  <c:v>41254</c:v>
                </c:pt>
                <c:pt idx="804">
                  <c:v>41255</c:v>
                </c:pt>
                <c:pt idx="805">
                  <c:v>41256</c:v>
                </c:pt>
                <c:pt idx="806">
                  <c:v>41257</c:v>
                </c:pt>
                <c:pt idx="807">
                  <c:v>41260</c:v>
                </c:pt>
                <c:pt idx="808">
                  <c:v>41261</c:v>
                </c:pt>
                <c:pt idx="809">
                  <c:v>41262</c:v>
                </c:pt>
                <c:pt idx="810">
                  <c:v>41263</c:v>
                </c:pt>
                <c:pt idx="811">
                  <c:v>41264</c:v>
                </c:pt>
                <c:pt idx="812">
                  <c:v>41267</c:v>
                </c:pt>
                <c:pt idx="813">
                  <c:v>41270</c:v>
                </c:pt>
                <c:pt idx="814">
                  <c:v>41271</c:v>
                </c:pt>
                <c:pt idx="815">
                  <c:v>41274</c:v>
                </c:pt>
                <c:pt idx="816">
                  <c:v>41276</c:v>
                </c:pt>
                <c:pt idx="817">
                  <c:v>41277</c:v>
                </c:pt>
                <c:pt idx="818">
                  <c:v>41278</c:v>
                </c:pt>
                <c:pt idx="819">
                  <c:v>41281</c:v>
                </c:pt>
                <c:pt idx="820">
                  <c:v>41282</c:v>
                </c:pt>
                <c:pt idx="821">
                  <c:v>41283</c:v>
                </c:pt>
                <c:pt idx="822">
                  <c:v>41284</c:v>
                </c:pt>
                <c:pt idx="823">
                  <c:v>41285</c:v>
                </c:pt>
                <c:pt idx="824">
                  <c:v>41288</c:v>
                </c:pt>
                <c:pt idx="825">
                  <c:v>41289</c:v>
                </c:pt>
                <c:pt idx="826">
                  <c:v>41290</c:v>
                </c:pt>
                <c:pt idx="827">
                  <c:v>41291</c:v>
                </c:pt>
                <c:pt idx="828">
                  <c:v>41292</c:v>
                </c:pt>
                <c:pt idx="829">
                  <c:v>41295</c:v>
                </c:pt>
                <c:pt idx="830">
                  <c:v>41296</c:v>
                </c:pt>
                <c:pt idx="831">
                  <c:v>41297</c:v>
                </c:pt>
                <c:pt idx="832">
                  <c:v>41298</c:v>
                </c:pt>
                <c:pt idx="833">
                  <c:v>41299</c:v>
                </c:pt>
                <c:pt idx="834">
                  <c:v>41302</c:v>
                </c:pt>
                <c:pt idx="835">
                  <c:v>41303</c:v>
                </c:pt>
                <c:pt idx="836">
                  <c:v>41304</c:v>
                </c:pt>
                <c:pt idx="837">
                  <c:v>41305</c:v>
                </c:pt>
                <c:pt idx="838">
                  <c:v>41306</c:v>
                </c:pt>
                <c:pt idx="839">
                  <c:v>41309</c:v>
                </c:pt>
                <c:pt idx="840">
                  <c:v>41310</c:v>
                </c:pt>
                <c:pt idx="841">
                  <c:v>41311</c:v>
                </c:pt>
                <c:pt idx="842">
                  <c:v>41312</c:v>
                </c:pt>
                <c:pt idx="843">
                  <c:v>41313</c:v>
                </c:pt>
                <c:pt idx="844">
                  <c:v>41316</c:v>
                </c:pt>
                <c:pt idx="845">
                  <c:v>41317</c:v>
                </c:pt>
                <c:pt idx="846">
                  <c:v>41318</c:v>
                </c:pt>
                <c:pt idx="847">
                  <c:v>41319</c:v>
                </c:pt>
                <c:pt idx="848">
                  <c:v>41320</c:v>
                </c:pt>
                <c:pt idx="849">
                  <c:v>41323</c:v>
                </c:pt>
                <c:pt idx="850">
                  <c:v>41324</c:v>
                </c:pt>
                <c:pt idx="851">
                  <c:v>41325</c:v>
                </c:pt>
                <c:pt idx="852">
                  <c:v>41326</c:v>
                </c:pt>
                <c:pt idx="853">
                  <c:v>41327</c:v>
                </c:pt>
                <c:pt idx="854">
                  <c:v>41330</c:v>
                </c:pt>
                <c:pt idx="855">
                  <c:v>41331</c:v>
                </c:pt>
                <c:pt idx="856">
                  <c:v>41332</c:v>
                </c:pt>
                <c:pt idx="857">
                  <c:v>41333</c:v>
                </c:pt>
                <c:pt idx="858">
                  <c:v>41334</c:v>
                </c:pt>
                <c:pt idx="859">
                  <c:v>41337</c:v>
                </c:pt>
                <c:pt idx="860">
                  <c:v>41338</c:v>
                </c:pt>
                <c:pt idx="861">
                  <c:v>41339</c:v>
                </c:pt>
                <c:pt idx="862">
                  <c:v>41340</c:v>
                </c:pt>
                <c:pt idx="863">
                  <c:v>41341</c:v>
                </c:pt>
                <c:pt idx="864">
                  <c:v>41344</c:v>
                </c:pt>
                <c:pt idx="865">
                  <c:v>41345</c:v>
                </c:pt>
                <c:pt idx="866">
                  <c:v>41346</c:v>
                </c:pt>
                <c:pt idx="867">
                  <c:v>41347</c:v>
                </c:pt>
                <c:pt idx="868">
                  <c:v>41348</c:v>
                </c:pt>
                <c:pt idx="869">
                  <c:v>41351</c:v>
                </c:pt>
                <c:pt idx="870">
                  <c:v>41352</c:v>
                </c:pt>
                <c:pt idx="871">
                  <c:v>41353</c:v>
                </c:pt>
                <c:pt idx="872">
                  <c:v>41354</c:v>
                </c:pt>
                <c:pt idx="873">
                  <c:v>41355</c:v>
                </c:pt>
                <c:pt idx="874">
                  <c:v>41358</c:v>
                </c:pt>
                <c:pt idx="875">
                  <c:v>41359</c:v>
                </c:pt>
                <c:pt idx="876">
                  <c:v>41360</c:v>
                </c:pt>
                <c:pt idx="877">
                  <c:v>41361</c:v>
                </c:pt>
                <c:pt idx="878">
                  <c:v>41366</c:v>
                </c:pt>
                <c:pt idx="879">
                  <c:v>41367</c:v>
                </c:pt>
                <c:pt idx="880">
                  <c:v>41368</c:v>
                </c:pt>
                <c:pt idx="881">
                  <c:v>41369</c:v>
                </c:pt>
                <c:pt idx="882">
                  <c:v>41372</c:v>
                </c:pt>
                <c:pt idx="883">
                  <c:v>41373</c:v>
                </c:pt>
                <c:pt idx="884">
                  <c:v>41374</c:v>
                </c:pt>
                <c:pt idx="885">
                  <c:v>41375</c:v>
                </c:pt>
                <c:pt idx="886">
                  <c:v>41376</c:v>
                </c:pt>
                <c:pt idx="887">
                  <c:v>41379</c:v>
                </c:pt>
                <c:pt idx="888">
                  <c:v>41380</c:v>
                </c:pt>
                <c:pt idx="889">
                  <c:v>41381</c:v>
                </c:pt>
                <c:pt idx="890">
                  <c:v>41382</c:v>
                </c:pt>
                <c:pt idx="891">
                  <c:v>41383</c:v>
                </c:pt>
                <c:pt idx="892">
                  <c:v>41386</c:v>
                </c:pt>
                <c:pt idx="893">
                  <c:v>41387</c:v>
                </c:pt>
                <c:pt idx="894">
                  <c:v>41388</c:v>
                </c:pt>
                <c:pt idx="895">
                  <c:v>41389</c:v>
                </c:pt>
                <c:pt idx="896">
                  <c:v>41390</c:v>
                </c:pt>
                <c:pt idx="897">
                  <c:v>41393</c:v>
                </c:pt>
                <c:pt idx="898">
                  <c:v>41394</c:v>
                </c:pt>
                <c:pt idx="899">
                  <c:v>41395</c:v>
                </c:pt>
                <c:pt idx="900">
                  <c:v>41396</c:v>
                </c:pt>
                <c:pt idx="901">
                  <c:v>41397</c:v>
                </c:pt>
                <c:pt idx="902">
                  <c:v>41400</c:v>
                </c:pt>
                <c:pt idx="903">
                  <c:v>41401</c:v>
                </c:pt>
                <c:pt idx="904">
                  <c:v>41402</c:v>
                </c:pt>
                <c:pt idx="905">
                  <c:v>41403</c:v>
                </c:pt>
                <c:pt idx="906">
                  <c:v>41404</c:v>
                </c:pt>
                <c:pt idx="907">
                  <c:v>41407</c:v>
                </c:pt>
                <c:pt idx="908">
                  <c:v>41408</c:v>
                </c:pt>
                <c:pt idx="909">
                  <c:v>41409</c:v>
                </c:pt>
                <c:pt idx="910">
                  <c:v>41410</c:v>
                </c:pt>
                <c:pt idx="911">
                  <c:v>41411</c:v>
                </c:pt>
                <c:pt idx="912">
                  <c:v>41414</c:v>
                </c:pt>
                <c:pt idx="913">
                  <c:v>41415</c:v>
                </c:pt>
                <c:pt idx="914">
                  <c:v>41416</c:v>
                </c:pt>
                <c:pt idx="915">
                  <c:v>41417</c:v>
                </c:pt>
                <c:pt idx="916">
                  <c:v>41418</c:v>
                </c:pt>
                <c:pt idx="917">
                  <c:v>41421</c:v>
                </c:pt>
                <c:pt idx="918">
                  <c:v>41422</c:v>
                </c:pt>
                <c:pt idx="919">
                  <c:v>41423</c:v>
                </c:pt>
                <c:pt idx="920">
                  <c:v>41424</c:v>
                </c:pt>
                <c:pt idx="921">
                  <c:v>41425</c:v>
                </c:pt>
                <c:pt idx="922">
                  <c:v>41428</c:v>
                </c:pt>
                <c:pt idx="923">
                  <c:v>41429</c:v>
                </c:pt>
                <c:pt idx="924">
                  <c:v>41430</c:v>
                </c:pt>
                <c:pt idx="925">
                  <c:v>41431</c:v>
                </c:pt>
                <c:pt idx="926">
                  <c:v>41432</c:v>
                </c:pt>
                <c:pt idx="927">
                  <c:v>41435</c:v>
                </c:pt>
                <c:pt idx="928">
                  <c:v>41436</c:v>
                </c:pt>
                <c:pt idx="929">
                  <c:v>41437</c:v>
                </c:pt>
                <c:pt idx="930">
                  <c:v>41438</c:v>
                </c:pt>
                <c:pt idx="931">
                  <c:v>41439</c:v>
                </c:pt>
                <c:pt idx="932">
                  <c:v>41442</c:v>
                </c:pt>
                <c:pt idx="933">
                  <c:v>41443</c:v>
                </c:pt>
                <c:pt idx="934">
                  <c:v>41444</c:v>
                </c:pt>
                <c:pt idx="935">
                  <c:v>41445</c:v>
                </c:pt>
                <c:pt idx="936">
                  <c:v>41446</c:v>
                </c:pt>
                <c:pt idx="937">
                  <c:v>41449</c:v>
                </c:pt>
                <c:pt idx="938">
                  <c:v>41450</c:v>
                </c:pt>
                <c:pt idx="939">
                  <c:v>41451</c:v>
                </c:pt>
                <c:pt idx="940">
                  <c:v>41452</c:v>
                </c:pt>
                <c:pt idx="941">
                  <c:v>41453</c:v>
                </c:pt>
                <c:pt idx="942">
                  <c:v>41456</c:v>
                </c:pt>
                <c:pt idx="943">
                  <c:v>41457</c:v>
                </c:pt>
                <c:pt idx="944">
                  <c:v>41458</c:v>
                </c:pt>
                <c:pt idx="945">
                  <c:v>41459</c:v>
                </c:pt>
                <c:pt idx="946">
                  <c:v>41460</c:v>
                </c:pt>
                <c:pt idx="947">
                  <c:v>41463</c:v>
                </c:pt>
                <c:pt idx="948">
                  <c:v>41464</c:v>
                </c:pt>
                <c:pt idx="949">
                  <c:v>41465</c:v>
                </c:pt>
                <c:pt idx="950">
                  <c:v>41466</c:v>
                </c:pt>
                <c:pt idx="951">
                  <c:v>41467</c:v>
                </c:pt>
                <c:pt idx="952">
                  <c:v>41470</c:v>
                </c:pt>
                <c:pt idx="953">
                  <c:v>41471</c:v>
                </c:pt>
                <c:pt idx="954">
                  <c:v>41472</c:v>
                </c:pt>
                <c:pt idx="955">
                  <c:v>41473</c:v>
                </c:pt>
                <c:pt idx="956">
                  <c:v>41474</c:v>
                </c:pt>
                <c:pt idx="957">
                  <c:v>41477</c:v>
                </c:pt>
                <c:pt idx="958">
                  <c:v>41478</c:v>
                </c:pt>
                <c:pt idx="959">
                  <c:v>41479</c:v>
                </c:pt>
                <c:pt idx="960">
                  <c:v>41480</c:v>
                </c:pt>
                <c:pt idx="961">
                  <c:v>41481</c:v>
                </c:pt>
                <c:pt idx="962">
                  <c:v>41484</c:v>
                </c:pt>
                <c:pt idx="963">
                  <c:v>41485</c:v>
                </c:pt>
                <c:pt idx="964">
                  <c:v>41486</c:v>
                </c:pt>
                <c:pt idx="965">
                  <c:v>41487</c:v>
                </c:pt>
                <c:pt idx="966">
                  <c:v>41488</c:v>
                </c:pt>
                <c:pt idx="967">
                  <c:v>41491</c:v>
                </c:pt>
                <c:pt idx="968">
                  <c:v>41492</c:v>
                </c:pt>
                <c:pt idx="969">
                  <c:v>41493</c:v>
                </c:pt>
                <c:pt idx="970">
                  <c:v>41494</c:v>
                </c:pt>
                <c:pt idx="971">
                  <c:v>41495</c:v>
                </c:pt>
                <c:pt idx="972">
                  <c:v>41498</c:v>
                </c:pt>
                <c:pt idx="973">
                  <c:v>41499</c:v>
                </c:pt>
                <c:pt idx="974">
                  <c:v>41500</c:v>
                </c:pt>
                <c:pt idx="975">
                  <c:v>41501</c:v>
                </c:pt>
                <c:pt idx="976">
                  <c:v>41502</c:v>
                </c:pt>
                <c:pt idx="977">
                  <c:v>41505</c:v>
                </c:pt>
                <c:pt idx="978">
                  <c:v>41506</c:v>
                </c:pt>
                <c:pt idx="979">
                  <c:v>41507</c:v>
                </c:pt>
                <c:pt idx="980">
                  <c:v>41508</c:v>
                </c:pt>
                <c:pt idx="981">
                  <c:v>41509</c:v>
                </c:pt>
                <c:pt idx="982">
                  <c:v>41512</c:v>
                </c:pt>
                <c:pt idx="983">
                  <c:v>41513</c:v>
                </c:pt>
                <c:pt idx="984">
                  <c:v>41514</c:v>
                </c:pt>
                <c:pt idx="985">
                  <c:v>41515</c:v>
                </c:pt>
                <c:pt idx="986">
                  <c:v>41516</c:v>
                </c:pt>
                <c:pt idx="987">
                  <c:v>41519</c:v>
                </c:pt>
                <c:pt idx="988">
                  <c:v>41520</c:v>
                </c:pt>
                <c:pt idx="989">
                  <c:v>41521</c:v>
                </c:pt>
                <c:pt idx="990">
                  <c:v>41522</c:v>
                </c:pt>
                <c:pt idx="991">
                  <c:v>41523</c:v>
                </c:pt>
                <c:pt idx="992">
                  <c:v>41526</c:v>
                </c:pt>
                <c:pt idx="993">
                  <c:v>41527</c:v>
                </c:pt>
                <c:pt idx="994">
                  <c:v>41528</c:v>
                </c:pt>
                <c:pt idx="995">
                  <c:v>41529</c:v>
                </c:pt>
                <c:pt idx="996">
                  <c:v>41530</c:v>
                </c:pt>
                <c:pt idx="997">
                  <c:v>41533</c:v>
                </c:pt>
                <c:pt idx="998">
                  <c:v>41534</c:v>
                </c:pt>
                <c:pt idx="999">
                  <c:v>41535</c:v>
                </c:pt>
                <c:pt idx="1000">
                  <c:v>41536</c:v>
                </c:pt>
                <c:pt idx="1001">
                  <c:v>41537</c:v>
                </c:pt>
                <c:pt idx="1002">
                  <c:v>41540</c:v>
                </c:pt>
                <c:pt idx="1003">
                  <c:v>41541</c:v>
                </c:pt>
                <c:pt idx="1004">
                  <c:v>41542</c:v>
                </c:pt>
                <c:pt idx="1005">
                  <c:v>41543</c:v>
                </c:pt>
                <c:pt idx="1006">
                  <c:v>41544</c:v>
                </c:pt>
                <c:pt idx="1007">
                  <c:v>41547</c:v>
                </c:pt>
                <c:pt idx="1008">
                  <c:v>41548</c:v>
                </c:pt>
                <c:pt idx="1009">
                  <c:v>41549</c:v>
                </c:pt>
                <c:pt idx="1010">
                  <c:v>41550</c:v>
                </c:pt>
                <c:pt idx="1011">
                  <c:v>41551</c:v>
                </c:pt>
                <c:pt idx="1012">
                  <c:v>41554</c:v>
                </c:pt>
                <c:pt idx="1013">
                  <c:v>41555</c:v>
                </c:pt>
                <c:pt idx="1014">
                  <c:v>41556</c:v>
                </c:pt>
                <c:pt idx="1015">
                  <c:v>41557</c:v>
                </c:pt>
                <c:pt idx="1016">
                  <c:v>41558</c:v>
                </c:pt>
                <c:pt idx="1017">
                  <c:v>41561</c:v>
                </c:pt>
                <c:pt idx="1018">
                  <c:v>41562</c:v>
                </c:pt>
                <c:pt idx="1019">
                  <c:v>41563</c:v>
                </c:pt>
                <c:pt idx="1020">
                  <c:v>41564</c:v>
                </c:pt>
                <c:pt idx="1021">
                  <c:v>41565</c:v>
                </c:pt>
                <c:pt idx="1022">
                  <c:v>41568</c:v>
                </c:pt>
                <c:pt idx="1023">
                  <c:v>41569</c:v>
                </c:pt>
                <c:pt idx="1024">
                  <c:v>41570</c:v>
                </c:pt>
                <c:pt idx="1025">
                  <c:v>41571</c:v>
                </c:pt>
                <c:pt idx="1026">
                  <c:v>41572</c:v>
                </c:pt>
                <c:pt idx="1027">
                  <c:v>41575</c:v>
                </c:pt>
                <c:pt idx="1028">
                  <c:v>41576</c:v>
                </c:pt>
                <c:pt idx="1029">
                  <c:v>41577</c:v>
                </c:pt>
                <c:pt idx="1030">
                  <c:v>41578</c:v>
                </c:pt>
                <c:pt idx="1031">
                  <c:v>41579</c:v>
                </c:pt>
                <c:pt idx="1032">
                  <c:v>41582</c:v>
                </c:pt>
                <c:pt idx="1033">
                  <c:v>41583</c:v>
                </c:pt>
                <c:pt idx="1034">
                  <c:v>41584</c:v>
                </c:pt>
                <c:pt idx="1035">
                  <c:v>41585</c:v>
                </c:pt>
                <c:pt idx="1036">
                  <c:v>41586</c:v>
                </c:pt>
                <c:pt idx="1037">
                  <c:v>41589</c:v>
                </c:pt>
                <c:pt idx="1038">
                  <c:v>41590</c:v>
                </c:pt>
                <c:pt idx="1039">
                  <c:v>41591</c:v>
                </c:pt>
                <c:pt idx="1040">
                  <c:v>41592</c:v>
                </c:pt>
                <c:pt idx="1041">
                  <c:v>41593</c:v>
                </c:pt>
                <c:pt idx="1042">
                  <c:v>41596</c:v>
                </c:pt>
                <c:pt idx="1043">
                  <c:v>41597</c:v>
                </c:pt>
                <c:pt idx="1044">
                  <c:v>41598</c:v>
                </c:pt>
                <c:pt idx="1045">
                  <c:v>41599</c:v>
                </c:pt>
                <c:pt idx="1046">
                  <c:v>41600</c:v>
                </c:pt>
                <c:pt idx="1047">
                  <c:v>41603</c:v>
                </c:pt>
                <c:pt idx="1048">
                  <c:v>41604</c:v>
                </c:pt>
                <c:pt idx="1049">
                  <c:v>41605</c:v>
                </c:pt>
                <c:pt idx="1050">
                  <c:v>41606</c:v>
                </c:pt>
                <c:pt idx="1051">
                  <c:v>41607</c:v>
                </c:pt>
                <c:pt idx="1052">
                  <c:v>41610</c:v>
                </c:pt>
                <c:pt idx="1053">
                  <c:v>41611</c:v>
                </c:pt>
                <c:pt idx="1054">
                  <c:v>41612</c:v>
                </c:pt>
                <c:pt idx="1055">
                  <c:v>41613</c:v>
                </c:pt>
                <c:pt idx="1056">
                  <c:v>41614</c:v>
                </c:pt>
                <c:pt idx="1057">
                  <c:v>41617</c:v>
                </c:pt>
                <c:pt idx="1058">
                  <c:v>41618</c:v>
                </c:pt>
                <c:pt idx="1059">
                  <c:v>41619</c:v>
                </c:pt>
                <c:pt idx="1060">
                  <c:v>41620</c:v>
                </c:pt>
                <c:pt idx="1061">
                  <c:v>41621</c:v>
                </c:pt>
                <c:pt idx="1062">
                  <c:v>41624</c:v>
                </c:pt>
                <c:pt idx="1063">
                  <c:v>41625</c:v>
                </c:pt>
                <c:pt idx="1064">
                  <c:v>41626</c:v>
                </c:pt>
                <c:pt idx="1065">
                  <c:v>41627</c:v>
                </c:pt>
                <c:pt idx="1066">
                  <c:v>41628</c:v>
                </c:pt>
                <c:pt idx="1067">
                  <c:v>41631</c:v>
                </c:pt>
                <c:pt idx="1068">
                  <c:v>41632</c:v>
                </c:pt>
                <c:pt idx="1069">
                  <c:v>41635</c:v>
                </c:pt>
                <c:pt idx="1070">
                  <c:v>41638</c:v>
                </c:pt>
                <c:pt idx="1071">
                  <c:v>41639</c:v>
                </c:pt>
                <c:pt idx="1072">
                  <c:v>41641</c:v>
                </c:pt>
                <c:pt idx="1073">
                  <c:v>41642</c:v>
                </c:pt>
                <c:pt idx="1074">
                  <c:v>41645</c:v>
                </c:pt>
                <c:pt idx="1075">
                  <c:v>41646</c:v>
                </c:pt>
                <c:pt idx="1076">
                  <c:v>41647</c:v>
                </c:pt>
                <c:pt idx="1077">
                  <c:v>41648</c:v>
                </c:pt>
                <c:pt idx="1078">
                  <c:v>41649</c:v>
                </c:pt>
                <c:pt idx="1079">
                  <c:v>41652</c:v>
                </c:pt>
                <c:pt idx="1080">
                  <c:v>41653</c:v>
                </c:pt>
                <c:pt idx="1081">
                  <c:v>41654</c:v>
                </c:pt>
                <c:pt idx="1082">
                  <c:v>41655</c:v>
                </c:pt>
                <c:pt idx="1083">
                  <c:v>41656</c:v>
                </c:pt>
                <c:pt idx="1084">
                  <c:v>41659</c:v>
                </c:pt>
                <c:pt idx="1085">
                  <c:v>41660</c:v>
                </c:pt>
                <c:pt idx="1086">
                  <c:v>41661</c:v>
                </c:pt>
                <c:pt idx="1087">
                  <c:v>41662</c:v>
                </c:pt>
                <c:pt idx="1088">
                  <c:v>41663</c:v>
                </c:pt>
                <c:pt idx="1089">
                  <c:v>41666</c:v>
                </c:pt>
                <c:pt idx="1090">
                  <c:v>41667</c:v>
                </c:pt>
                <c:pt idx="1091">
                  <c:v>41668</c:v>
                </c:pt>
                <c:pt idx="1092">
                  <c:v>41669</c:v>
                </c:pt>
                <c:pt idx="1093">
                  <c:v>41670</c:v>
                </c:pt>
                <c:pt idx="1094">
                  <c:v>41673</c:v>
                </c:pt>
                <c:pt idx="1095">
                  <c:v>41674</c:v>
                </c:pt>
                <c:pt idx="1096">
                  <c:v>41675</c:v>
                </c:pt>
                <c:pt idx="1097">
                  <c:v>41676</c:v>
                </c:pt>
                <c:pt idx="1098">
                  <c:v>41677</c:v>
                </c:pt>
                <c:pt idx="1099">
                  <c:v>41680</c:v>
                </c:pt>
                <c:pt idx="1100">
                  <c:v>41681</c:v>
                </c:pt>
                <c:pt idx="1101">
                  <c:v>41682</c:v>
                </c:pt>
                <c:pt idx="1102">
                  <c:v>41683</c:v>
                </c:pt>
                <c:pt idx="1103">
                  <c:v>41684</c:v>
                </c:pt>
                <c:pt idx="1104">
                  <c:v>41687</c:v>
                </c:pt>
                <c:pt idx="1105">
                  <c:v>41688</c:v>
                </c:pt>
                <c:pt idx="1106">
                  <c:v>41689</c:v>
                </c:pt>
                <c:pt idx="1107">
                  <c:v>41690</c:v>
                </c:pt>
                <c:pt idx="1108">
                  <c:v>41691</c:v>
                </c:pt>
                <c:pt idx="1109">
                  <c:v>41694</c:v>
                </c:pt>
                <c:pt idx="1110">
                  <c:v>41695</c:v>
                </c:pt>
                <c:pt idx="1111">
                  <c:v>41696</c:v>
                </c:pt>
                <c:pt idx="1112">
                  <c:v>41697</c:v>
                </c:pt>
                <c:pt idx="1113">
                  <c:v>41698</c:v>
                </c:pt>
                <c:pt idx="1114">
                  <c:v>41701</c:v>
                </c:pt>
                <c:pt idx="1115">
                  <c:v>41702</c:v>
                </c:pt>
                <c:pt idx="1116">
                  <c:v>41703</c:v>
                </c:pt>
                <c:pt idx="1117">
                  <c:v>41704</c:v>
                </c:pt>
                <c:pt idx="1118">
                  <c:v>41705</c:v>
                </c:pt>
                <c:pt idx="1119">
                  <c:v>41708</c:v>
                </c:pt>
                <c:pt idx="1120">
                  <c:v>41709</c:v>
                </c:pt>
                <c:pt idx="1121">
                  <c:v>41710</c:v>
                </c:pt>
                <c:pt idx="1122">
                  <c:v>41711</c:v>
                </c:pt>
                <c:pt idx="1123">
                  <c:v>41712</c:v>
                </c:pt>
                <c:pt idx="1124">
                  <c:v>41715</c:v>
                </c:pt>
                <c:pt idx="1125">
                  <c:v>41716</c:v>
                </c:pt>
                <c:pt idx="1126">
                  <c:v>41717</c:v>
                </c:pt>
                <c:pt idx="1127">
                  <c:v>41718</c:v>
                </c:pt>
                <c:pt idx="1128">
                  <c:v>41719</c:v>
                </c:pt>
                <c:pt idx="1129">
                  <c:v>41722</c:v>
                </c:pt>
                <c:pt idx="1130">
                  <c:v>41723</c:v>
                </c:pt>
                <c:pt idx="1131">
                  <c:v>41724</c:v>
                </c:pt>
                <c:pt idx="1132">
                  <c:v>41725</c:v>
                </c:pt>
                <c:pt idx="1133">
                  <c:v>41726</c:v>
                </c:pt>
                <c:pt idx="1134">
                  <c:v>41729</c:v>
                </c:pt>
                <c:pt idx="1135">
                  <c:v>41730</c:v>
                </c:pt>
                <c:pt idx="1136">
                  <c:v>41731</c:v>
                </c:pt>
                <c:pt idx="1137">
                  <c:v>41732</c:v>
                </c:pt>
                <c:pt idx="1138">
                  <c:v>41733</c:v>
                </c:pt>
                <c:pt idx="1139">
                  <c:v>41736</c:v>
                </c:pt>
                <c:pt idx="1140">
                  <c:v>41737</c:v>
                </c:pt>
                <c:pt idx="1141">
                  <c:v>41738</c:v>
                </c:pt>
                <c:pt idx="1142">
                  <c:v>41739</c:v>
                </c:pt>
                <c:pt idx="1143">
                  <c:v>41740</c:v>
                </c:pt>
                <c:pt idx="1144">
                  <c:v>41743</c:v>
                </c:pt>
                <c:pt idx="1145">
                  <c:v>41744</c:v>
                </c:pt>
                <c:pt idx="1146">
                  <c:v>41745</c:v>
                </c:pt>
                <c:pt idx="1147">
                  <c:v>41746</c:v>
                </c:pt>
                <c:pt idx="1148">
                  <c:v>41751</c:v>
                </c:pt>
                <c:pt idx="1149">
                  <c:v>41752</c:v>
                </c:pt>
                <c:pt idx="1150">
                  <c:v>41753</c:v>
                </c:pt>
                <c:pt idx="1151">
                  <c:v>41754</c:v>
                </c:pt>
                <c:pt idx="1152">
                  <c:v>41757</c:v>
                </c:pt>
                <c:pt idx="1153">
                  <c:v>41758</c:v>
                </c:pt>
                <c:pt idx="1154">
                  <c:v>41759</c:v>
                </c:pt>
                <c:pt idx="1155">
                  <c:v>41760</c:v>
                </c:pt>
                <c:pt idx="1156">
                  <c:v>41761</c:v>
                </c:pt>
                <c:pt idx="1157">
                  <c:v>41764</c:v>
                </c:pt>
                <c:pt idx="1158">
                  <c:v>41765</c:v>
                </c:pt>
                <c:pt idx="1159">
                  <c:v>41766</c:v>
                </c:pt>
                <c:pt idx="1160">
                  <c:v>41767</c:v>
                </c:pt>
                <c:pt idx="1161">
                  <c:v>41768</c:v>
                </c:pt>
                <c:pt idx="1162">
                  <c:v>41771</c:v>
                </c:pt>
                <c:pt idx="1163">
                  <c:v>41772</c:v>
                </c:pt>
                <c:pt idx="1164">
                  <c:v>41773</c:v>
                </c:pt>
                <c:pt idx="1165">
                  <c:v>41774</c:v>
                </c:pt>
                <c:pt idx="1166">
                  <c:v>41775</c:v>
                </c:pt>
                <c:pt idx="1167">
                  <c:v>41778</c:v>
                </c:pt>
                <c:pt idx="1168">
                  <c:v>41779</c:v>
                </c:pt>
                <c:pt idx="1169">
                  <c:v>41780</c:v>
                </c:pt>
                <c:pt idx="1170">
                  <c:v>41781</c:v>
                </c:pt>
                <c:pt idx="1171">
                  <c:v>41782</c:v>
                </c:pt>
                <c:pt idx="1172">
                  <c:v>41785</c:v>
                </c:pt>
                <c:pt idx="1173">
                  <c:v>41786</c:v>
                </c:pt>
                <c:pt idx="1174">
                  <c:v>41787</c:v>
                </c:pt>
                <c:pt idx="1175">
                  <c:v>41788</c:v>
                </c:pt>
                <c:pt idx="1176">
                  <c:v>41789</c:v>
                </c:pt>
                <c:pt idx="1177">
                  <c:v>41792</c:v>
                </c:pt>
                <c:pt idx="1178">
                  <c:v>41793</c:v>
                </c:pt>
                <c:pt idx="1179">
                  <c:v>41794</c:v>
                </c:pt>
                <c:pt idx="1180">
                  <c:v>41795</c:v>
                </c:pt>
                <c:pt idx="1181">
                  <c:v>41796</c:v>
                </c:pt>
                <c:pt idx="1182">
                  <c:v>41799</c:v>
                </c:pt>
                <c:pt idx="1183">
                  <c:v>41800</c:v>
                </c:pt>
                <c:pt idx="1184">
                  <c:v>41801</c:v>
                </c:pt>
                <c:pt idx="1185">
                  <c:v>41802</c:v>
                </c:pt>
                <c:pt idx="1186">
                  <c:v>41803</c:v>
                </c:pt>
                <c:pt idx="1187">
                  <c:v>41806</c:v>
                </c:pt>
                <c:pt idx="1188">
                  <c:v>41807</c:v>
                </c:pt>
                <c:pt idx="1189">
                  <c:v>41808</c:v>
                </c:pt>
                <c:pt idx="1190">
                  <c:v>41809</c:v>
                </c:pt>
                <c:pt idx="1191">
                  <c:v>41810</c:v>
                </c:pt>
                <c:pt idx="1192">
                  <c:v>41813</c:v>
                </c:pt>
                <c:pt idx="1193">
                  <c:v>41814</c:v>
                </c:pt>
                <c:pt idx="1194">
                  <c:v>41815</c:v>
                </c:pt>
                <c:pt idx="1195">
                  <c:v>41816</c:v>
                </c:pt>
                <c:pt idx="1196">
                  <c:v>41817</c:v>
                </c:pt>
                <c:pt idx="1197">
                  <c:v>41820</c:v>
                </c:pt>
                <c:pt idx="1198">
                  <c:v>41821</c:v>
                </c:pt>
                <c:pt idx="1199">
                  <c:v>41822</c:v>
                </c:pt>
                <c:pt idx="1200">
                  <c:v>41823</c:v>
                </c:pt>
                <c:pt idx="1201">
                  <c:v>41824</c:v>
                </c:pt>
                <c:pt idx="1202">
                  <c:v>41827</c:v>
                </c:pt>
                <c:pt idx="1203">
                  <c:v>41828</c:v>
                </c:pt>
                <c:pt idx="1204">
                  <c:v>41829</c:v>
                </c:pt>
                <c:pt idx="1205">
                  <c:v>41830</c:v>
                </c:pt>
                <c:pt idx="1206">
                  <c:v>41831</c:v>
                </c:pt>
                <c:pt idx="1207">
                  <c:v>41834</c:v>
                </c:pt>
                <c:pt idx="1208">
                  <c:v>41835</c:v>
                </c:pt>
                <c:pt idx="1209">
                  <c:v>41836</c:v>
                </c:pt>
                <c:pt idx="1210">
                  <c:v>41837</c:v>
                </c:pt>
                <c:pt idx="1211">
                  <c:v>41838</c:v>
                </c:pt>
                <c:pt idx="1212">
                  <c:v>41841</c:v>
                </c:pt>
                <c:pt idx="1213">
                  <c:v>41842</c:v>
                </c:pt>
                <c:pt idx="1214">
                  <c:v>41843</c:v>
                </c:pt>
                <c:pt idx="1215">
                  <c:v>41844</c:v>
                </c:pt>
                <c:pt idx="1216">
                  <c:v>41845</c:v>
                </c:pt>
                <c:pt idx="1217">
                  <c:v>41848</c:v>
                </c:pt>
                <c:pt idx="1218">
                  <c:v>41849</c:v>
                </c:pt>
                <c:pt idx="1219">
                  <c:v>41850</c:v>
                </c:pt>
                <c:pt idx="1220">
                  <c:v>41851</c:v>
                </c:pt>
                <c:pt idx="1221">
                  <c:v>41852</c:v>
                </c:pt>
                <c:pt idx="1222">
                  <c:v>41855</c:v>
                </c:pt>
                <c:pt idx="1223">
                  <c:v>41856</c:v>
                </c:pt>
                <c:pt idx="1224">
                  <c:v>41857</c:v>
                </c:pt>
                <c:pt idx="1225">
                  <c:v>41858</c:v>
                </c:pt>
                <c:pt idx="1226">
                  <c:v>41859</c:v>
                </c:pt>
                <c:pt idx="1227">
                  <c:v>41862</c:v>
                </c:pt>
                <c:pt idx="1228">
                  <c:v>41863</c:v>
                </c:pt>
                <c:pt idx="1229">
                  <c:v>41864</c:v>
                </c:pt>
                <c:pt idx="1230">
                  <c:v>41865</c:v>
                </c:pt>
                <c:pt idx="1231">
                  <c:v>41866</c:v>
                </c:pt>
                <c:pt idx="1232">
                  <c:v>41869</c:v>
                </c:pt>
                <c:pt idx="1233">
                  <c:v>41870</c:v>
                </c:pt>
                <c:pt idx="1234">
                  <c:v>41871</c:v>
                </c:pt>
                <c:pt idx="1235">
                  <c:v>41872</c:v>
                </c:pt>
                <c:pt idx="1236">
                  <c:v>41873</c:v>
                </c:pt>
                <c:pt idx="1237">
                  <c:v>41876</c:v>
                </c:pt>
                <c:pt idx="1238">
                  <c:v>41877</c:v>
                </c:pt>
                <c:pt idx="1239">
                  <c:v>41878</c:v>
                </c:pt>
                <c:pt idx="1240">
                  <c:v>41879</c:v>
                </c:pt>
                <c:pt idx="1241">
                  <c:v>41880</c:v>
                </c:pt>
                <c:pt idx="1242">
                  <c:v>41883</c:v>
                </c:pt>
                <c:pt idx="1243">
                  <c:v>41884</c:v>
                </c:pt>
                <c:pt idx="1244">
                  <c:v>41885</c:v>
                </c:pt>
                <c:pt idx="1245">
                  <c:v>41886</c:v>
                </c:pt>
              </c:numCache>
            </c:numRef>
          </c:cat>
          <c:val>
            <c:numRef>
              <c:f>Sheet1!$C$2:$C$1247</c:f>
              <c:numCache>
                <c:formatCode>General</c:formatCode>
                <c:ptCount val="1246"/>
                <c:pt idx="0">
                  <c:v>100</c:v>
                </c:pt>
                <c:pt idx="1">
                  <c:v>100.29995385325334</c:v>
                </c:pt>
                <c:pt idx="2">
                  <c:v>99.146285186894318</c:v>
                </c:pt>
                <c:pt idx="3">
                  <c:v>100.98061836640517</c:v>
                </c:pt>
                <c:pt idx="4">
                  <c:v>101.56898938624828</c:v>
                </c:pt>
                <c:pt idx="5">
                  <c:v>101.78818643285648</c:v>
                </c:pt>
                <c:pt idx="6">
                  <c:v>103.77249653899399</c:v>
                </c:pt>
                <c:pt idx="7">
                  <c:v>103.58790955237656</c:v>
                </c:pt>
                <c:pt idx="8">
                  <c:v>104.04937701892017</c:v>
                </c:pt>
                <c:pt idx="9">
                  <c:v>104.22242731887401</c:v>
                </c:pt>
                <c:pt idx="10">
                  <c:v>104.77618827872632</c:v>
                </c:pt>
                <c:pt idx="11">
                  <c:v>106.27595754499308</c:v>
                </c:pt>
                <c:pt idx="12">
                  <c:v>105.87217351176741</c:v>
                </c:pt>
                <c:pt idx="13">
                  <c:v>105.64143977849561</c:v>
                </c:pt>
                <c:pt idx="14">
                  <c:v>103.89940009229348</c:v>
                </c:pt>
                <c:pt idx="15">
                  <c:v>103.09183202584218</c:v>
                </c:pt>
                <c:pt idx="16">
                  <c:v>105.179972311952</c:v>
                </c:pt>
                <c:pt idx="17">
                  <c:v>104.49930779880017</c:v>
                </c:pt>
                <c:pt idx="18">
                  <c:v>104.9607752653438</c:v>
                </c:pt>
                <c:pt idx="19">
                  <c:v>101.5228426395939</c:v>
                </c:pt>
                <c:pt idx="20">
                  <c:v>102.69958467928009</c:v>
                </c:pt>
                <c:pt idx="21">
                  <c:v>101.24596215966774</c:v>
                </c:pt>
                <c:pt idx="22">
                  <c:v>103.95708352561144</c:v>
                </c:pt>
                <c:pt idx="23">
                  <c:v>104.476234425473</c:v>
                </c:pt>
                <c:pt idx="24">
                  <c:v>104.29164743885555</c:v>
                </c:pt>
                <c:pt idx="25">
                  <c:v>105.43377941855098</c:v>
                </c:pt>
                <c:pt idx="26">
                  <c:v>104.94923857868019</c:v>
                </c:pt>
                <c:pt idx="27">
                  <c:v>103.31102907245038</c:v>
                </c:pt>
                <c:pt idx="28">
                  <c:v>102.21504383940932</c:v>
                </c:pt>
                <c:pt idx="29">
                  <c:v>103.26488232579602</c:v>
                </c:pt>
                <c:pt idx="30">
                  <c:v>103.79556991232117</c:v>
                </c:pt>
                <c:pt idx="31">
                  <c:v>104.60313797877249</c:v>
                </c:pt>
                <c:pt idx="32">
                  <c:v>104.68389478541762</c:v>
                </c:pt>
                <c:pt idx="33">
                  <c:v>106.03368712505767</c:v>
                </c:pt>
                <c:pt idx="34">
                  <c:v>104.6954314720812</c:v>
                </c:pt>
                <c:pt idx="35">
                  <c:v>104.28011075219197</c:v>
                </c:pt>
                <c:pt idx="36">
                  <c:v>105.71065989847715</c:v>
                </c:pt>
                <c:pt idx="37">
                  <c:v>106.39132441162897</c:v>
                </c:pt>
                <c:pt idx="38">
                  <c:v>106.71435163820951</c:v>
                </c:pt>
                <c:pt idx="39">
                  <c:v>106.71435163820951</c:v>
                </c:pt>
                <c:pt idx="40">
                  <c:v>107.25657591139823</c:v>
                </c:pt>
                <c:pt idx="41">
                  <c:v>107.6488232579603</c:v>
                </c:pt>
                <c:pt idx="42">
                  <c:v>107.26811259806183</c:v>
                </c:pt>
                <c:pt idx="43">
                  <c:v>107.57960313797876</c:v>
                </c:pt>
                <c:pt idx="44">
                  <c:v>109.17166589755421</c:v>
                </c:pt>
                <c:pt idx="45">
                  <c:v>109.14859252422704</c:v>
                </c:pt>
                <c:pt idx="46">
                  <c:v>109.31010613751731</c:v>
                </c:pt>
                <c:pt idx="47">
                  <c:v>109.34471619750808</c:v>
                </c:pt>
                <c:pt idx="48">
                  <c:v>109.80618366405169</c:v>
                </c:pt>
                <c:pt idx="49">
                  <c:v>109.6677434240886</c:v>
                </c:pt>
                <c:pt idx="50">
                  <c:v>108.64097831102906</c:v>
                </c:pt>
                <c:pt idx="51">
                  <c:v>108.89478541762804</c:v>
                </c:pt>
                <c:pt idx="52">
                  <c:v>109.69081679741576</c:v>
                </c:pt>
                <c:pt idx="53">
                  <c:v>108.67558837101984</c:v>
                </c:pt>
                <c:pt idx="54">
                  <c:v>109.42547300415319</c:v>
                </c:pt>
                <c:pt idx="55">
                  <c:v>110.29072450392246</c:v>
                </c:pt>
                <c:pt idx="56">
                  <c:v>108.62944162436547</c:v>
                </c:pt>
                <c:pt idx="57">
                  <c:v>107.12967235809873</c:v>
                </c:pt>
                <c:pt idx="58">
                  <c:v>105.91832025842179</c:v>
                </c:pt>
                <c:pt idx="59">
                  <c:v>105.23765574526995</c:v>
                </c:pt>
                <c:pt idx="60">
                  <c:v>105.71065989847715</c:v>
                </c:pt>
                <c:pt idx="61">
                  <c:v>104.85694508537146</c:v>
                </c:pt>
                <c:pt idx="62">
                  <c:v>103.71481310567606</c:v>
                </c:pt>
                <c:pt idx="63">
                  <c:v>104.7069681587448</c:v>
                </c:pt>
                <c:pt idx="64">
                  <c:v>105.34148592524227</c:v>
                </c:pt>
                <c:pt idx="65">
                  <c:v>106.3567143516382</c:v>
                </c:pt>
                <c:pt idx="66">
                  <c:v>105.80295339178588</c:v>
                </c:pt>
                <c:pt idx="67">
                  <c:v>102.96492847254268</c:v>
                </c:pt>
                <c:pt idx="68">
                  <c:v>100.73834794646976</c:v>
                </c:pt>
                <c:pt idx="69">
                  <c:v>101.34979233964003</c:v>
                </c:pt>
                <c:pt idx="70">
                  <c:v>101.47669589293953</c:v>
                </c:pt>
                <c:pt idx="71">
                  <c:v>102.26119058606366</c:v>
                </c:pt>
                <c:pt idx="72">
                  <c:v>102.61882787263497</c:v>
                </c:pt>
                <c:pt idx="73">
                  <c:v>102.30733733271803</c:v>
                </c:pt>
                <c:pt idx="74">
                  <c:v>102.68804799261653</c:v>
                </c:pt>
                <c:pt idx="75">
                  <c:v>103.73788647900322</c:v>
                </c:pt>
                <c:pt idx="76">
                  <c:v>105.1915089986156</c:v>
                </c:pt>
                <c:pt idx="77">
                  <c:v>105.80295339178588</c:v>
                </c:pt>
                <c:pt idx="78">
                  <c:v>106.29903091832024</c:v>
                </c:pt>
                <c:pt idx="79">
                  <c:v>106.03368712505767</c:v>
                </c:pt>
                <c:pt idx="80">
                  <c:v>104.78772496538993</c:v>
                </c:pt>
                <c:pt idx="81">
                  <c:v>105.01845869866173</c:v>
                </c:pt>
                <c:pt idx="82">
                  <c:v>103.34563913244115</c:v>
                </c:pt>
                <c:pt idx="83">
                  <c:v>104.41855099215505</c:v>
                </c:pt>
                <c:pt idx="84">
                  <c:v>105.64143977849561</c:v>
                </c:pt>
                <c:pt idx="85">
                  <c:v>106.55283802491924</c:v>
                </c:pt>
                <c:pt idx="86">
                  <c:v>107.4180895246885</c:v>
                </c:pt>
                <c:pt idx="87">
                  <c:v>107.6488232579603</c:v>
                </c:pt>
                <c:pt idx="88">
                  <c:v>109.39086294416242</c:v>
                </c:pt>
                <c:pt idx="89">
                  <c:v>109.29856945085371</c:v>
                </c:pt>
                <c:pt idx="90">
                  <c:v>109.24088601753574</c:v>
                </c:pt>
                <c:pt idx="91">
                  <c:v>109.94462390401476</c:v>
                </c:pt>
                <c:pt idx="92">
                  <c:v>109.6677434240886</c:v>
                </c:pt>
                <c:pt idx="93">
                  <c:v>110.0138440239963</c:v>
                </c:pt>
                <c:pt idx="94">
                  <c:v>109.26395939086294</c:v>
                </c:pt>
                <c:pt idx="95">
                  <c:v>110.27918781725887</c:v>
                </c:pt>
                <c:pt idx="96">
                  <c:v>111.30595293031843</c:v>
                </c:pt>
                <c:pt idx="97">
                  <c:v>111.24826949700046</c:v>
                </c:pt>
                <c:pt idx="98">
                  <c:v>110.82141209044762</c:v>
                </c:pt>
                <c:pt idx="99">
                  <c:v>110.78680203045685</c:v>
                </c:pt>
                <c:pt idx="100">
                  <c:v>111.53668666359022</c:v>
                </c:pt>
                <c:pt idx="101">
                  <c:v>111.68666359021688</c:v>
                </c:pt>
                <c:pt idx="102">
                  <c:v>112.81725888324874</c:v>
                </c:pt>
                <c:pt idx="103">
                  <c:v>112.33271804337794</c:v>
                </c:pt>
                <c:pt idx="104">
                  <c:v>112.4826949700046</c:v>
                </c:pt>
                <c:pt idx="105">
                  <c:v>112.471158283341</c:v>
                </c:pt>
                <c:pt idx="106">
                  <c:v>112.3557914167051</c:v>
                </c:pt>
                <c:pt idx="107">
                  <c:v>114.12090447623441</c:v>
                </c:pt>
                <c:pt idx="108">
                  <c:v>114.87078910936776</c:v>
                </c:pt>
                <c:pt idx="109">
                  <c:v>114.55929856945085</c:v>
                </c:pt>
                <c:pt idx="110">
                  <c:v>113.57868020304569</c:v>
                </c:pt>
                <c:pt idx="111">
                  <c:v>115.0669127826488</c:v>
                </c:pt>
                <c:pt idx="112">
                  <c:v>114.92847254268574</c:v>
                </c:pt>
                <c:pt idx="113">
                  <c:v>114.64005537609599</c:v>
                </c:pt>
                <c:pt idx="114">
                  <c:v>115.43608675588371</c:v>
                </c:pt>
                <c:pt idx="115">
                  <c:v>116.19750807568066</c:v>
                </c:pt>
                <c:pt idx="116">
                  <c:v>114.40932164282418</c:v>
                </c:pt>
                <c:pt idx="117">
                  <c:v>113.74019381633593</c:v>
                </c:pt>
                <c:pt idx="118">
                  <c:v>115.29764651592063</c:v>
                </c:pt>
                <c:pt idx="119">
                  <c:v>114.66312874942315</c:v>
                </c:pt>
                <c:pt idx="120">
                  <c:v>113.44023996308259</c:v>
                </c:pt>
                <c:pt idx="121">
                  <c:v>114.38624826949699</c:v>
                </c:pt>
                <c:pt idx="122">
                  <c:v>115.53991693585601</c:v>
                </c:pt>
                <c:pt idx="123">
                  <c:v>111.94047069681588</c:v>
                </c:pt>
                <c:pt idx="124">
                  <c:v>110.53299492385787</c:v>
                </c:pt>
                <c:pt idx="125">
                  <c:v>112.07891093677895</c:v>
                </c:pt>
                <c:pt idx="126">
                  <c:v>111.37517305029996</c:v>
                </c:pt>
                <c:pt idx="127">
                  <c:v>111.74434702353484</c:v>
                </c:pt>
                <c:pt idx="128">
                  <c:v>108.61790493770189</c:v>
                </c:pt>
                <c:pt idx="129">
                  <c:v>107.72958006460543</c:v>
                </c:pt>
                <c:pt idx="130">
                  <c:v>106.24134748500231</c:v>
                </c:pt>
                <c:pt idx="131">
                  <c:v>102.16889709275496</c:v>
                </c:pt>
                <c:pt idx="132">
                  <c:v>109.49469312413473</c:v>
                </c:pt>
                <c:pt idx="133">
                  <c:v>109.04476234425471</c:v>
                </c:pt>
                <c:pt idx="134">
                  <c:v>110.68297185048452</c:v>
                </c:pt>
                <c:pt idx="135">
                  <c:v>110.97138901707429</c:v>
                </c:pt>
                <c:pt idx="136">
                  <c:v>107.21042916474389</c:v>
                </c:pt>
                <c:pt idx="137">
                  <c:v>107.06045223811719</c:v>
                </c:pt>
                <c:pt idx="138">
                  <c:v>108.45639132441163</c:v>
                </c:pt>
                <c:pt idx="139">
                  <c:v>105.23765574526995</c:v>
                </c:pt>
                <c:pt idx="140">
                  <c:v>102.98800184586985</c:v>
                </c:pt>
                <c:pt idx="141">
                  <c:v>102.4919243193355</c:v>
                </c:pt>
                <c:pt idx="142">
                  <c:v>102.99953853253345</c:v>
                </c:pt>
                <c:pt idx="143">
                  <c:v>100.44993077988001</c:v>
                </c:pt>
                <c:pt idx="144">
                  <c:v>102.89570835256114</c:v>
                </c:pt>
                <c:pt idx="145">
                  <c:v>106.01061375173049</c:v>
                </c:pt>
                <c:pt idx="146">
                  <c:v>105.69912321181356</c:v>
                </c:pt>
                <c:pt idx="147">
                  <c:v>106.1259806183664</c:v>
                </c:pt>
                <c:pt idx="148">
                  <c:v>106.29903091832024</c:v>
                </c:pt>
                <c:pt idx="149">
                  <c:v>106.43747115828334</c:v>
                </c:pt>
                <c:pt idx="150">
                  <c:v>107.96031379787725</c:v>
                </c:pt>
                <c:pt idx="151">
                  <c:v>106.05676049838486</c:v>
                </c:pt>
                <c:pt idx="152">
                  <c:v>105.28380249192433</c:v>
                </c:pt>
                <c:pt idx="153">
                  <c:v>104.13013382556528</c:v>
                </c:pt>
                <c:pt idx="154">
                  <c:v>106.1259806183664</c:v>
                </c:pt>
                <c:pt idx="155">
                  <c:v>107.81033687125057</c:v>
                </c:pt>
                <c:pt idx="156">
                  <c:v>108.23719427780341</c:v>
                </c:pt>
                <c:pt idx="157">
                  <c:v>109.62159667743423</c:v>
                </c:pt>
                <c:pt idx="158">
                  <c:v>110.38301799723121</c:v>
                </c:pt>
                <c:pt idx="159">
                  <c:v>110.48684817720348</c:v>
                </c:pt>
                <c:pt idx="160">
                  <c:v>110.65989847715736</c:v>
                </c:pt>
                <c:pt idx="161">
                  <c:v>110.87909552376556</c:v>
                </c:pt>
                <c:pt idx="162">
                  <c:v>112.07891093677895</c:v>
                </c:pt>
                <c:pt idx="163">
                  <c:v>111.52514997692661</c:v>
                </c:pt>
                <c:pt idx="164">
                  <c:v>110.46377480387632</c:v>
                </c:pt>
                <c:pt idx="165">
                  <c:v>108.44485463774802</c:v>
                </c:pt>
                <c:pt idx="166">
                  <c:v>107.81033687125057</c:v>
                </c:pt>
                <c:pt idx="167">
                  <c:v>109.12551915089985</c:v>
                </c:pt>
                <c:pt idx="168">
                  <c:v>105.84910013844022</c:v>
                </c:pt>
                <c:pt idx="169">
                  <c:v>105.65297646515918</c:v>
                </c:pt>
                <c:pt idx="170">
                  <c:v>103.05722196585138</c:v>
                </c:pt>
                <c:pt idx="171">
                  <c:v>103.05722196585138</c:v>
                </c:pt>
                <c:pt idx="172">
                  <c:v>102.80341485925241</c:v>
                </c:pt>
                <c:pt idx="173">
                  <c:v>105.44531610521457</c:v>
                </c:pt>
                <c:pt idx="174">
                  <c:v>106.88740193816335</c:v>
                </c:pt>
                <c:pt idx="175">
                  <c:v>107.99492385786802</c:v>
                </c:pt>
                <c:pt idx="176">
                  <c:v>108.64097831102906</c:v>
                </c:pt>
                <c:pt idx="177">
                  <c:v>109.12551915089985</c:v>
                </c:pt>
                <c:pt idx="178">
                  <c:v>111.2136594370097</c:v>
                </c:pt>
                <c:pt idx="179">
                  <c:v>111.1905860636825</c:v>
                </c:pt>
                <c:pt idx="180">
                  <c:v>109.91001384402399</c:v>
                </c:pt>
                <c:pt idx="181">
                  <c:v>107.79880018458698</c:v>
                </c:pt>
                <c:pt idx="182">
                  <c:v>106.95662205814489</c:v>
                </c:pt>
                <c:pt idx="183">
                  <c:v>107.02584217812642</c:v>
                </c:pt>
                <c:pt idx="184">
                  <c:v>108.29487771112136</c:v>
                </c:pt>
                <c:pt idx="185">
                  <c:v>110.53299492385787</c:v>
                </c:pt>
                <c:pt idx="186">
                  <c:v>111.22519612367327</c:v>
                </c:pt>
                <c:pt idx="187">
                  <c:v>111.72127365020765</c:v>
                </c:pt>
                <c:pt idx="188">
                  <c:v>112.14813105676049</c:v>
                </c:pt>
                <c:pt idx="189">
                  <c:v>111.79049377018919</c:v>
                </c:pt>
                <c:pt idx="190">
                  <c:v>111.38670973696354</c:v>
                </c:pt>
                <c:pt idx="191">
                  <c:v>110.99446239040147</c:v>
                </c:pt>
                <c:pt idx="192">
                  <c:v>113.94785417628054</c:v>
                </c:pt>
                <c:pt idx="193">
                  <c:v>113.93631748961698</c:v>
                </c:pt>
                <c:pt idx="194">
                  <c:v>114.06322104291647</c:v>
                </c:pt>
                <c:pt idx="195">
                  <c:v>113.76326718966313</c:v>
                </c:pt>
                <c:pt idx="196">
                  <c:v>112.55191508998614</c:v>
                </c:pt>
                <c:pt idx="197">
                  <c:v>114.09783110290724</c:v>
                </c:pt>
                <c:pt idx="198">
                  <c:v>113.08260267651129</c:v>
                </c:pt>
                <c:pt idx="199">
                  <c:v>110.85602215043839</c:v>
                </c:pt>
                <c:pt idx="200">
                  <c:v>110.9598523304107</c:v>
                </c:pt>
                <c:pt idx="201">
                  <c:v>111.23673281033686</c:v>
                </c:pt>
                <c:pt idx="202">
                  <c:v>111.25980618366404</c:v>
                </c:pt>
                <c:pt idx="203">
                  <c:v>112.50576834333179</c:v>
                </c:pt>
                <c:pt idx="204">
                  <c:v>112.18274111675126</c:v>
                </c:pt>
                <c:pt idx="205">
                  <c:v>110.56760498384864</c:v>
                </c:pt>
                <c:pt idx="206">
                  <c:v>109.81772035071526</c:v>
                </c:pt>
                <c:pt idx="207">
                  <c:v>110.52145823719425</c:v>
                </c:pt>
                <c:pt idx="208">
                  <c:v>108.64097831102906</c:v>
                </c:pt>
                <c:pt idx="209">
                  <c:v>107.81033687125057</c:v>
                </c:pt>
                <c:pt idx="210">
                  <c:v>108.73327180433779</c:v>
                </c:pt>
                <c:pt idx="211">
                  <c:v>109.42547300415319</c:v>
                </c:pt>
                <c:pt idx="212">
                  <c:v>109.41393631748961</c:v>
                </c:pt>
                <c:pt idx="213">
                  <c:v>109.48315643747115</c:v>
                </c:pt>
                <c:pt idx="214">
                  <c:v>112.4826949700046</c:v>
                </c:pt>
                <c:pt idx="215">
                  <c:v>112.4826949700046</c:v>
                </c:pt>
                <c:pt idx="216">
                  <c:v>113.45177664974619</c:v>
                </c:pt>
                <c:pt idx="217">
                  <c:v>113.682510383018</c:v>
                </c:pt>
                <c:pt idx="218">
                  <c:v>113.17489616982002</c:v>
                </c:pt>
                <c:pt idx="219">
                  <c:v>114.34010152284264</c:v>
                </c:pt>
                <c:pt idx="220">
                  <c:v>115.53991693585601</c:v>
                </c:pt>
                <c:pt idx="221">
                  <c:v>115.36686663590217</c:v>
                </c:pt>
                <c:pt idx="222">
                  <c:v>116.1398246423627</c:v>
                </c:pt>
                <c:pt idx="223">
                  <c:v>116.11675126903553</c:v>
                </c:pt>
                <c:pt idx="224">
                  <c:v>115.74757729580062</c:v>
                </c:pt>
                <c:pt idx="225">
                  <c:v>114.8477157360406</c:v>
                </c:pt>
                <c:pt idx="226">
                  <c:v>114.58237194277802</c:v>
                </c:pt>
                <c:pt idx="227">
                  <c:v>116.07060452238116</c:v>
                </c:pt>
                <c:pt idx="228">
                  <c:v>115.53991693585601</c:v>
                </c:pt>
                <c:pt idx="229">
                  <c:v>113.89017074296261</c:v>
                </c:pt>
                <c:pt idx="230">
                  <c:v>113.83248730964466</c:v>
                </c:pt>
                <c:pt idx="231">
                  <c:v>115.10152284263957</c:v>
                </c:pt>
                <c:pt idx="232">
                  <c:v>114.64005537609599</c:v>
                </c:pt>
                <c:pt idx="233">
                  <c:v>114.39778495616058</c:v>
                </c:pt>
                <c:pt idx="234">
                  <c:v>113.82095062298107</c:v>
                </c:pt>
                <c:pt idx="235">
                  <c:v>113.25565297646516</c:v>
                </c:pt>
                <c:pt idx="236">
                  <c:v>112.97877249653901</c:v>
                </c:pt>
                <c:pt idx="237">
                  <c:v>112.39040147669587</c:v>
                </c:pt>
                <c:pt idx="238">
                  <c:v>113.89017074296261</c:v>
                </c:pt>
                <c:pt idx="239">
                  <c:v>114.47854176280572</c:v>
                </c:pt>
                <c:pt idx="240">
                  <c:v>114.39778495616058</c:v>
                </c:pt>
                <c:pt idx="241">
                  <c:v>114.37471158283341</c:v>
                </c:pt>
                <c:pt idx="242">
                  <c:v>114.79003230272265</c:v>
                </c:pt>
                <c:pt idx="243">
                  <c:v>114.47854176280572</c:v>
                </c:pt>
                <c:pt idx="244">
                  <c:v>116.12828795569912</c:v>
                </c:pt>
                <c:pt idx="245">
                  <c:v>115.88601753576373</c:v>
                </c:pt>
                <c:pt idx="246">
                  <c:v>115.97831102907243</c:v>
                </c:pt>
                <c:pt idx="247">
                  <c:v>116.32441162898016</c:v>
                </c:pt>
                <c:pt idx="248">
                  <c:v>115.71296723580986</c:v>
                </c:pt>
                <c:pt idx="249">
                  <c:v>116.11675126903553</c:v>
                </c:pt>
                <c:pt idx="250">
                  <c:v>116.77434240886015</c:v>
                </c:pt>
                <c:pt idx="251">
                  <c:v>116.3936317489617</c:v>
                </c:pt>
                <c:pt idx="252">
                  <c:v>116.69358560221504</c:v>
                </c:pt>
                <c:pt idx="253">
                  <c:v>116.46285186894323</c:v>
                </c:pt>
                <c:pt idx="254">
                  <c:v>115.62067374250114</c:v>
                </c:pt>
                <c:pt idx="255">
                  <c:v>116.047531149054</c:v>
                </c:pt>
                <c:pt idx="256">
                  <c:v>116.07060452238116</c:v>
                </c:pt>
                <c:pt idx="257">
                  <c:v>116.2667281956622</c:v>
                </c:pt>
                <c:pt idx="258">
                  <c:v>116.75126903553299</c:v>
                </c:pt>
                <c:pt idx="259">
                  <c:v>116.34748500230731</c:v>
                </c:pt>
                <c:pt idx="260">
                  <c:v>118.22796492847255</c:v>
                </c:pt>
                <c:pt idx="261">
                  <c:v>118.72404245500692</c:v>
                </c:pt>
                <c:pt idx="262">
                  <c:v>118.75865251499769</c:v>
                </c:pt>
                <c:pt idx="263">
                  <c:v>119.42778034148591</c:v>
                </c:pt>
                <c:pt idx="264">
                  <c:v>118.608675588371</c:v>
                </c:pt>
                <c:pt idx="265">
                  <c:v>118.56252884171666</c:v>
                </c:pt>
                <c:pt idx="266">
                  <c:v>118.10106137517305</c:v>
                </c:pt>
                <c:pt idx="267">
                  <c:v>119.04706968158743</c:v>
                </c:pt>
                <c:pt idx="268">
                  <c:v>116.2667281956622</c:v>
                </c:pt>
                <c:pt idx="269">
                  <c:v>116.91278264882325</c:v>
                </c:pt>
                <c:pt idx="270">
                  <c:v>118.59713890170742</c:v>
                </c:pt>
                <c:pt idx="271">
                  <c:v>117.88186432856484</c:v>
                </c:pt>
                <c:pt idx="272">
                  <c:v>117.13197969543145</c:v>
                </c:pt>
                <c:pt idx="273">
                  <c:v>115.3207198892478</c:v>
                </c:pt>
                <c:pt idx="274">
                  <c:v>116.497461928934</c:v>
                </c:pt>
                <c:pt idx="275">
                  <c:v>117.12044300876786</c:v>
                </c:pt>
                <c:pt idx="276">
                  <c:v>116.63590216889708</c:v>
                </c:pt>
                <c:pt idx="277">
                  <c:v>114.69773880941392</c:v>
                </c:pt>
                <c:pt idx="278">
                  <c:v>114.55929856945085</c:v>
                </c:pt>
                <c:pt idx="279">
                  <c:v>116.88970927549607</c:v>
                </c:pt>
                <c:pt idx="280">
                  <c:v>118.86248269497</c:v>
                </c:pt>
                <c:pt idx="281">
                  <c:v>118.58560221504383</c:v>
                </c:pt>
                <c:pt idx="282">
                  <c:v>118.77018920166127</c:v>
                </c:pt>
                <c:pt idx="283">
                  <c:v>119.87771112136593</c:v>
                </c:pt>
                <c:pt idx="284">
                  <c:v>120.35071527457313</c:v>
                </c:pt>
                <c:pt idx="285">
                  <c:v>120.77757268112596</c:v>
                </c:pt>
                <c:pt idx="286">
                  <c:v>120.88140286109828</c:v>
                </c:pt>
                <c:pt idx="287">
                  <c:v>121.23904014766957</c:v>
                </c:pt>
                <c:pt idx="288">
                  <c:v>121.53899400092291</c:v>
                </c:pt>
                <c:pt idx="289">
                  <c:v>121.05445316105215</c:v>
                </c:pt>
                <c:pt idx="290">
                  <c:v>121.51592062759575</c:v>
                </c:pt>
                <c:pt idx="291">
                  <c:v>121.00830641439777</c:v>
                </c:pt>
                <c:pt idx="292">
                  <c:v>121.86202122750345</c:v>
                </c:pt>
                <c:pt idx="293">
                  <c:v>123.06183664051684</c:v>
                </c:pt>
                <c:pt idx="294">
                  <c:v>123.21181356714351</c:v>
                </c:pt>
                <c:pt idx="295">
                  <c:v>123.35025380710658</c:v>
                </c:pt>
                <c:pt idx="296">
                  <c:v>123.20027688047992</c:v>
                </c:pt>
                <c:pt idx="297">
                  <c:v>122.21965851407475</c:v>
                </c:pt>
                <c:pt idx="298">
                  <c:v>122.48500230733733</c:v>
                </c:pt>
                <c:pt idx="299">
                  <c:v>122.8541762805722</c:v>
                </c:pt>
                <c:pt idx="300">
                  <c:v>121.28518689432393</c:v>
                </c:pt>
                <c:pt idx="301">
                  <c:v>120.7544993077988</c:v>
                </c:pt>
                <c:pt idx="302">
                  <c:v>121.72358098754037</c:v>
                </c:pt>
                <c:pt idx="303">
                  <c:v>122.7503461005999</c:v>
                </c:pt>
                <c:pt idx="304">
                  <c:v>122.79649284725424</c:v>
                </c:pt>
                <c:pt idx="305">
                  <c:v>123.24642362713428</c:v>
                </c:pt>
                <c:pt idx="306">
                  <c:v>123.03876326718965</c:v>
                </c:pt>
                <c:pt idx="307">
                  <c:v>121.94277803414859</c:v>
                </c:pt>
                <c:pt idx="308">
                  <c:v>123.46562067374249</c:v>
                </c:pt>
                <c:pt idx="309">
                  <c:v>125.13844023996307</c:v>
                </c:pt>
                <c:pt idx="310">
                  <c:v>124.38855560682971</c:v>
                </c:pt>
                <c:pt idx="311">
                  <c:v>124.26165205353021</c:v>
                </c:pt>
                <c:pt idx="312">
                  <c:v>124.41162898015689</c:v>
                </c:pt>
                <c:pt idx="313">
                  <c:v>125.57683433317951</c:v>
                </c:pt>
                <c:pt idx="314">
                  <c:v>123.84633133364096</c:v>
                </c:pt>
                <c:pt idx="315">
                  <c:v>122.38117212736501</c:v>
                </c:pt>
                <c:pt idx="316">
                  <c:v>123.20027688047992</c:v>
                </c:pt>
                <c:pt idx="317">
                  <c:v>123.53484079372403</c:v>
                </c:pt>
                <c:pt idx="318">
                  <c:v>122.70419935394554</c:v>
                </c:pt>
                <c:pt idx="319">
                  <c:v>123.8001845869866</c:v>
                </c:pt>
                <c:pt idx="320">
                  <c:v>123.98477157360406</c:v>
                </c:pt>
                <c:pt idx="321">
                  <c:v>122.92339640055374</c:v>
                </c:pt>
                <c:pt idx="322">
                  <c:v>122.73880941393631</c:v>
                </c:pt>
                <c:pt idx="323">
                  <c:v>124.56160590678356</c:v>
                </c:pt>
                <c:pt idx="324">
                  <c:v>124.78080295339178</c:v>
                </c:pt>
                <c:pt idx="325">
                  <c:v>124.9653899400092</c:v>
                </c:pt>
                <c:pt idx="326">
                  <c:v>125.35763728657128</c:v>
                </c:pt>
                <c:pt idx="327">
                  <c:v>126.60359944623903</c:v>
                </c:pt>
                <c:pt idx="328">
                  <c:v>126.5228426395939</c:v>
                </c:pt>
                <c:pt idx="329">
                  <c:v>126.08444854637749</c:v>
                </c:pt>
                <c:pt idx="330">
                  <c:v>125.83064143977847</c:v>
                </c:pt>
                <c:pt idx="331">
                  <c:v>126.36132902630364</c:v>
                </c:pt>
                <c:pt idx="332">
                  <c:v>126.85740655283801</c:v>
                </c:pt>
                <c:pt idx="333">
                  <c:v>126.99584679280109</c:v>
                </c:pt>
                <c:pt idx="334">
                  <c:v>127.561144439317</c:v>
                </c:pt>
                <c:pt idx="335">
                  <c:v>127.75726811259804</c:v>
                </c:pt>
                <c:pt idx="336">
                  <c:v>127.7111213659437</c:v>
                </c:pt>
                <c:pt idx="337">
                  <c:v>126.01522842639594</c:v>
                </c:pt>
                <c:pt idx="338">
                  <c:v>125.23073373327178</c:v>
                </c:pt>
                <c:pt idx="339">
                  <c:v>123.9270881402861</c:v>
                </c:pt>
                <c:pt idx="340">
                  <c:v>123.22335025380711</c:v>
                </c:pt>
                <c:pt idx="341">
                  <c:v>124.78080295339178</c:v>
                </c:pt>
                <c:pt idx="342">
                  <c:v>125.81910475311491</c:v>
                </c:pt>
                <c:pt idx="343">
                  <c:v>125.02307337332716</c:v>
                </c:pt>
                <c:pt idx="344">
                  <c:v>124.22704199353944</c:v>
                </c:pt>
                <c:pt idx="345">
                  <c:v>124.66543608675589</c:v>
                </c:pt>
                <c:pt idx="346">
                  <c:v>123.93862482694971</c:v>
                </c:pt>
                <c:pt idx="347">
                  <c:v>123.41947392708815</c:v>
                </c:pt>
                <c:pt idx="348">
                  <c:v>123.89247808029533</c:v>
                </c:pt>
                <c:pt idx="349">
                  <c:v>123.6963544070143</c:v>
                </c:pt>
                <c:pt idx="350">
                  <c:v>122.25426857406552</c:v>
                </c:pt>
                <c:pt idx="351">
                  <c:v>121.16982002768803</c:v>
                </c:pt>
                <c:pt idx="352">
                  <c:v>119.88924780802952</c:v>
                </c:pt>
                <c:pt idx="353">
                  <c:v>117.16658975542225</c:v>
                </c:pt>
                <c:pt idx="354">
                  <c:v>115.38994000922933</c:v>
                </c:pt>
                <c:pt idx="355">
                  <c:v>117.54730041532071</c:v>
                </c:pt>
                <c:pt idx="356">
                  <c:v>117.7895708352561</c:v>
                </c:pt>
                <c:pt idx="357">
                  <c:v>119.86617443470236</c:v>
                </c:pt>
                <c:pt idx="358">
                  <c:v>119.62390401476695</c:v>
                </c:pt>
                <c:pt idx="359">
                  <c:v>120.22381172127363</c:v>
                </c:pt>
                <c:pt idx="360">
                  <c:v>121.42362713428703</c:v>
                </c:pt>
                <c:pt idx="361">
                  <c:v>121.55053068758652</c:v>
                </c:pt>
                <c:pt idx="362">
                  <c:v>121.66589755422241</c:v>
                </c:pt>
                <c:pt idx="363">
                  <c:v>121.78126442085832</c:v>
                </c:pt>
                <c:pt idx="364">
                  <c:v>122.70419935394554</c:v>
                </c:pt>
                <c:pt idx="365">
                  <c:v>121.55053068758652</c:v>
                </c:pt>
                <c:pt idx="366">
                  <c:v>123.39640055376093</c:v>
                </c:pt>
                <c:pt idx="367">
                  <c:v>123.5694508537148</c:v>
                </c:pt>
                <c:pt idx="368">
                  <c:v>123.85786802030456</c:v>
                </c:pt>
                <c:pt idx="369">
                  <c:v>124.16935856022148</c:v>
                </c:pt>
                <c:pt idx="370">
                  <c:v>123.84633133364096</c:v>
                </c:pt>
                <c:pt idx="371">
                  <c:v>124.2731887401938</c:v>
                </c:pt>
                <c:pt idx="372">
                  <c:v>123.97323488694045</c:v>
                </c:pt>
                <c:pt idx="373">
                  <c:v>121.88509460083064</c:v>
                </c:pt>
                <c:pt idx="374">
                  <c:v>122.79649284725424</c:v>
                </c:pt>
                <c:pt idx="375">
                  <c:v>122.31195200738347</c:v>
                </c:pt>
                <c:pt idx="376">
                  <c:v>122.68112598061836</c:v>
                </c:pt>
                <c:pt idx="377">
                  <c:v>120.71988924780801</c:v>
                </c:pt>
                <c:pt idx="378">
                  <c:v>121.3428703276419</c:v>
                </c:pt>
                <c:pt idx="379">
                  <c:v>123.4425473004153</c:v>
                </c:pt>
                <c:pt idx="380">
                  <c:v>124.15782187355791</c:v>
                </c:pt>
                <c:pt idx="381">
                  <c:v>124.52699584679279</c:v>
                </c:pt>
                <c:pt idx="382">
                  <c:v>124.9884633133364</c:v>
                </c:pt>
                <c:pt idx="383">
                  <c:v>125.39224734656204</c:v>
                </c:pt>
                <c:pt idx="384">
                  <c:v>125.84217812644208</c:v>
                </c:pt>
                <c:pt idx="385">
                  <c:v>126.00369173973233</c:v>
                </c:pt>
                <c:pt idx="386">
                  <c:v>125.39224734656204</c:v>
                </c:pt>
                <c:pt idx="387">
                  <c:v>123.77711121365944</c:v>
                </c:pt>
                <c:pt idx="388">
                  <c:v>123.55791416705119</c:v>
                </c:pt>
                <c:pt idx="389">
                  <c:v>125.27688047992615</c:v>
                </c:pt>
                <c:pt idx="390">
                  <c:v>124.94231656668204</c:v>
                </c:pt>
                <c:pt idx="391">
                  <c:v>126.08444854637749</c:v>
                </c:pt>
                <c:pt idx="392">
                  <c:v>126.54591601292107</c:v>
                </c:pt>
                <c:pt idx="393">
                  <c:v>125.70373788647899</c:v>
                </c:pt>
                <c:pt idx="394">
                  <c:v>125.19612367328101</c:v>
                </c:pt>
                <c:pt idx="395">
                  <c:v>125.1153668666359</c:v>
                </c:pt>
                <c:pt idx="396">
                  <c:v>123.85786802030456</c:v>
                </c:pt>
                <c:pt idx="397">
                  <c:v>124.29626211352098</c:v>
                </c:pt>
                <c:pt idx="398">
                  <c:v>125.1153668666359</c:v>
                </c:pt>
                <c:pt idx="399">
                  <c:v>125.05768343331796</c:v>
                </c:pt>
                <c:pt idx="400">
                  <c:v>123.06183664051684</c:v>
                </c:pt>
                <c:pt idx="401">
                  <c:v>123.35025380710658</c:v>
                </c:pt>
                <c:pt idx="402">
                  <c:v>124.25011536686664</c:v>
                </c:pt>
                <c:pt idx="403">
                  <c:v>124.18089524688509</c:v>
                </c:pt>
                <c:pt idx="404">
                  <c:v>125.05768343331796</c:v>
                </c:pt>
                <c:pt idx="405">
                  <c:v>124.95385325334563</c:v>
                </c:pt>
                <c:pt idx="406">
                  <c:v>126.00369173973233</c:v>
                </c:pt>
                <c:pt idx="407">
                  <c:v>124.93077988001846</c:v>
                </c:pt>
                <c:pt idx="408">
                  <c:v>123.28103368712505</c:v>
                </c:pt>
                <c:pt idx="409">
                  <c:v>122.83110290724504</c:v>
                </c:pt>
                <c:pt idx="410">
                  <c:v>122.17351176742039</c:v>
                </c:pt>
                <c:pt idx="411">
                  <c:v>122.04660821412089</c:v>
                </c:pt>
                <c:pt idx="412">
                  <c:v>120.76603599446238</c:v>
                </c:pt>
                <c:pt idx="413">
                  <c:v>122.00046146746652</c:v>
                </c:pt>
                <c:pt idx="414">
                  <c:v>120.40839870789108</c:v>
                </c:pt>
                <c:pt idx="415">
                  <c:v>120.68527918781724</c:v>
                </c:pt>
                <c:pt idx="416">
                  <c:v>121.63128749423167</c:v>
                </c:pt>
                <c:pt idx="417">
                  <c:v>120.33917858790954</c:v>
                </c:pt>
                <c:pt idx="418">
                  <c:v>119.79695431472082</c:v>
                </c:pt>
                <c:pt idx="419">
                  <c:v>119.99307798800186</c:v>
                </c:pt>
                <c:pt idx="420">
                  <c:v>119.40470696815872</c:v>
                </c:pt>
                <c:pt idx="421">
                  <c:v>121.12367328103366</c:v>
                </c:pt>
                <c:pt idx="422">
                  <c:v>120.45454545454544</c:v>
                </c:pt>
                <c:pt idx="423">
                  <c:v>118.77018920166127</c:v>
                </c:pt>
                <c:pt idx="424">
                  <c:v>118.62021227503459</c:v>
                </c:pt>
                <c:pt idx="425">
                  <c:v>118.63174896169819</c:v>
                </c:pt>
                <c:pt idx="426">
                  <c:v>119.18550992155052</c:v>
                </c:pt>
                <c:pt idx="427">
                  <c:v>121.25057683433316</c:v>
                </c:pt>
                <c:pt idx="428">
                  <c:v>122.634979233964</c:v>
                </c:pt>
                <c:pt idx="429">
                  <c:v>123.5694508537148</c:v>
                </c:pt>
                <c:pt idx="430">
                  <c:v>123.85786802030456</c:v>
                </c:pt>
                <c:pt idx="431">
                  <c:v>123.9155514536225</c:v>
                </c:pt>
                <c:pt idx="432">
                  <c:v>123.54637748038763</c:v>
                </c:pt>
                <c:pt idx="433">
                  <c:v>124.06552838024918</c:v>
                </c:pt>
                <c:pt idx="434">
                  <c:v>123.10798338717119</c:v>
                </c:pt>
                <c:pt idx="435">
                  <c:v>121.36594370096907</c:v>
                </c:pt>
                <c:pt idx="436">
                  <c:v>120.58144900784494</c:v>
                </c:pt>
                <c:pt idx="437">
                  <c:v>121.41209044762343</c:v>
                </c:pt>
                <c:pt idx="438">
                  <c:v>120.3853253345639</c:v>
                </c:pt>
                <c:pt idx="439">
                  <c:v>120.05076142131979</c:v>
                </c:pt>
                <c:pt idx="440">
                  <c:v>117.88186432856484</c:v>
                </c:pt>
                <c:pt idx="441">
                  <c:v>118.86248269497</c:v>
                </c:pt>
                <c:pt idx="442">
                  <c:v>120.41993539455467</c:v>
                </c:pt>
                <c:pt idx="443">
                  <c:v>121.66589755422241</c:v>
                </c:pt>
                <c:pt idx="444">
                  <c:v>122.35809875403783</c:v>
                </c:pt>
                <c:pt idx="445">
                  <c:v>122.02353484079372</c:v>
                </c:pt>
                <c:pt idx="446">
                  <c:v>121.49284725426857</c:v>
                </c:pt>
                <c:pt idx="447">
                  <c:v>120.14305491462851</c:v>
                </c:pt>
                <c:pt idx="448">
                  <c:v>120.16612828795567</c:v>
                </c:pt>
                <c:pt idx="449">
                  <c:v>119.33548684817718</c:v>
                </c:pt>
                <c:pt idx="450">
                  <c:v>117.90493770189201</c:v>
                </c:pt>
                <c:pt idx="451">
                  <c:v>115.64374711582832</c:v>
                </c:pt>
                <c:pt idx="452">
                  <c:v>113.48638670973696</c:v>
                </c:pt>
                <c:pt idx="453">
                  <c:v>109.52930318412551</c:v>
                </c:pt>
                <c:pt idx="454">
                  <c:v>107.60267651130594</c:v>
                </c:pt>
                <c:pt idx="455">
                  <c:v>103.14951545916011</c:v>
                </c:pt>
                <c:pt idx="456">
                  <c:v>104.60313797877249</c:v>
                </c:pt>
                <c:pt idx="457">
                  <c:v>100.73834794646976</c:v>
                </c:pt>
                <c:pt idx="458">
                  <c:v>103.26488232579602</c:v>
                </c:pt>
                <c:pt idx="459">
                  <c:v>107.03737886479003</c:v>
                </c:pt>
                <c:pt idx="460">
                  <c:v>107.1988924780803</c:v>
                </c:pt>
                <c:pt idx="461">
                  <c:v>107.0719889247808</c:v>
                </c:pt>
                <c:pt idx="462">
                  <c:v>107.36040609137054</c:v>
                </c:pt>
                <c:pt idx="463">
                  <c:v>102.2381172127365</c:v>
                </c:pt>
                <c:pt idx="464">
                  <c:v>100.63451776649745</c:v>
                </c:pt>
                <c:pt idx="465">
                  <c:v>101.43054914628517</c:v>
                </c:pt>
                <c:pt idx="466">
                  <c:v>102.21504383940932</c:v>
                </c:pt>
                <c:pt idx="467">
                  <c:v>103.64559298569451</c:v>
                </c:pt>
                <c:pt idx="468">
                  <c:v>102.42270419935393</c:v>
                </c:pt>
                <c:pt idx="469">
                  <c:v>101.71896631287494</c:v>
                </c:pt>
                <c:pt idx="470">
                  <c:v>102.96492847254268</c:v>
                </c:pt>
                <c:pt idx="471">
                  <c:v>104.03784033225658</c:v>
                </c:pt>
                <c:pt idx="472">
                  <c:v>107.09506229810796</c:v>
                </c:pt>
                <c:pt idx="473">
                  <c:v>107.7757268112598</c:v>
                </c:pt>
                <c:pt idx="474">
                  <c:v>105.14536225196123</c:v>
                </c:pt>
                <c:pt idx="475">
                  <c:v>100.81910475311491</c:v>
                </c:pt>
                <c:pt idx="476">
                  <c:v>100.16151361329024</c:v>
                </c:pt>
                <c:pt idx="477">
                  <c:v>103.29949238578679</c:v>
                </c:pt>
                <c:pt idx="478">
                  <c:v>104.03784033225658</c:v>
                </c:pt>
                <c:pt idx="479">
                  <c:v>101.3844023996308</c:v>
                </c:pt>
                <c:pt idx="480">
                  <c:v>98.834794646977386</c:v>
                </c:pt>
                <c:pt idx="481">
                  <c:v>99.711582833410233</c:v>
                </c:pt>
                <c:pt idx="482">
                  <c:v>101.21135209967697</c:v>
                </c:pt>
                <c:pt idx="483">
                  <c:v>103.25334563913245</c:v>
                </c:pt>
                <c:pt idx="484">
                  <c:v>103.92247346562067</c:v>
                </c:pt>
                <c:pt idx="485">
                  <c:v>101.62667281956621</c:v>
                </c:pt>
                <c:pt idx="486">
                  <c:v>103.49561605906783</c:v>
                </c:pt>
                <c:pt idx="487">
                  <c:v>101.79972311952005</c:v>
                </c:pt>
                <c:pt idx="488">
                  <c:v>97.081218274111663</c:v>
                </c:pt>
                <c:pt idx="489">
                  <c:v>97.669589293954758</c:v>
                </c:pt>
                <c:pt idx="490">
                  <c:v>99.526995846792786</c:v>
                </c:pt>
                <c:pt idx="491">
                  <c:v>103.87632671896631</c:v>
                </c:pt>
                <c:pt idx="492">
                  <c:v>102.74573142593447</c:v>
                </c:pt>
                <c:pt idx="493">
                  <c:v>103.42639593908629</c:v>
                </c:pt>
                <c:pt idx="494">
                  <c:v>102.21504383940932</c:v>
                </c:pt>
                <c:pt idx="495">
                  <c:v>101.06137517305029</c:v>
                </c:pt>
                <c:pt idx="496">
                  <c:v>98.26949700046147</c:v>
                </c:pt>
                <c:pt idx="497">
                  <c:v>101.30364559298567</c:v>
                </c:pt>
                <c:pt idx="498">
                  <c:v>104.07245039224733</c:v>
                </c:pt>
                <c:pt idx="499">
                  <c:v>104.84540839870789</c:v>
                </c:pt>
                <c:pt idx="500">
                  <c:v>106.63359483156438</c:v>
                </c:pt>
                <c:pt idx="501">
                  <c:v>106.33364097831102</c:v>
                </c:pt>
                <c:pt idx="502">
                  <c:v>108.11029072450391</c:v>
                </c:pt>
                <c:pt idx="503">
                  <c:v>106.92201199815412</c:v>
                </c:pt>
                <c:pt idx="504">
                  <c:v>107.81033687125057</c:v>
                </c:pt>
                <c:pt idx="505">
                  <c:v>106.80664513151821</c:v>
                </c:pt>
                <c:pt idx="506">
                  <c:v>106.40286109829256</c:v>
                </c:pt>
                <c:pt idx="507">
                  <c:v>107.03737886479003</c:v>
                </c:pt>
                <c:pt idx="508">
                  <c:v>105.38763267189661</c:v>
                </c:pt>
                <c:pt idx="509">
                  <c:v>108.04107060452237</c:v>
                </c:pt>
                <c:pt idx="510">
                  <c:v>109.44854637748038</c:v>
                </c:pt>
                <c:pt idx="511">
                  <c:v>108.65251499769266</c:v>
                </c:pt>
                <c:pt idx="512">
                  <c:v>108.89478541762804</c:v>
                </c:pt>
                <c:pt idx="513">
                  <c:v>112.79418550992153</c:v>
                </c:pt>
                <c:pt idx="514">
                  <c:v>112.5980618366405</c:v>
                </c:pt>
                <c:pt idx="515">
                  <c:v>110.1176742039686</c:v>
                </c:pt>
                <c:pt idx="516">
                  <c:v>106.29903091832024</c:v>
                </c:pt>
                <c:pt idx="517">
                  <c:v>107.36040609137054</c:v>
                </c:pt>
                <c:pt idx="518">
                  <c:v>109.61005999077065</c:v>
                </c:pt>
                <c:pt idx="519">
                  <c:v>108.50253807106598</c:v>
                </c:pt>
                <c:pt idx="520">
                  <c:v>107.98338717120441</c:v>
                </c:pt>
                <c:pt idx="521">
                  <c:v>108.90632210429165</c:v>
                </c:pt>
                <c:pt idx="522">
                  <c:v>107.04891555145362</c:v>
                </c:pt>
                <c:pt idx="523">
                  <c:v>106.62205814490078</c:v>
                </c:pt>
                <c:pt idx="524">
                  <c:v>109.17166589755421</c:v>
                </c:pt>
                <c:pt idx="525">
                  <c:v>108.04107060452237</c:v>
                </c:pt>
                <c:pt idx="526">
                  <c:v>107.38347946469773</c:v>
                </c:pt>
                <c:pt idx="527">
                  <c:v>107.44116289801569</c:v>
                </c:pt>
                <c:pt idx="528">
                  <c:v>106.05676049838486</c:v>
                </c:pt>
                <c:pt idx="529">
                  <c:v>105.24919243193354</c:v>
                </c:pt>
                <c:pt idx="530">
                  <c:v>101.90355329949237</c:v>
                </c:pt>
                <c:pt idx="531">
                  <c:v>101.23442547300414</c:v>
                </c:pt>
                <c:pt idx="532">
                  <c:v>99.919243193354859</c:v>
                </c:pt>
                <c:pt idx="533">
                  <c:v>99.769266266728195</c:v>
                </c:pt>
                <c:pt idx="534">
                  <c:v>100.47300415320719</c:v>
                </c:pt>
                <c:pt idx="535">
                  <c:v>104.2455006922012</c:v>
                </c:pt>
                <c:pt idx="536">
                  <c:v>105.08767881864327</c:v>
                </c:pt>
                <c:pt idx="537">
                  <c:v>108.91785879095524</c:v>
                </c:pt>
                <c:pt idx="538">
                  <c:v>108.20258421781264</c:v>
                </c:pt>
                <c:pt idx="539">
                  <c:v>109.21781264420858</c:v>
                </c:pt>
                <c:pt idx="540">
                  <c:v>110.12921089063219</c:v>
                </c:pt>
                <c:pt idx="541">
                  <c:v>109.76003691739731</c:v>
                </c:pt>
                <c:pt idx="542">
                  <c:v>109.55237655745269</c:v>
                </c:pt>
                <c:pt idx="543">
                  <c:v>107.85648361790491</c:v>
                </c:pt>
                <c:pt idx="544">
                  <c:v>109.12551915089985</c:v>
                </c:pt>
                <c:pt idx="545">
                  <c:v>107.11813567143516</c:v>
                </c:pt>
                <c:pt idx="546">
                  <c:v>107.68343331795107</c:v>
                </c:pt>
                <c:pt idx="547">
                  <c:v>105.47992616520536</c:v>
                </c:pt>
                <c:pt idx="548">
                  <c:v>106.51822796492847</c:v>
                </c:pt>
                <c:pt idx="549">
                  <c:v>106.05676049838486</c:v>
                </c:pt>
                <c:pt idx="550">
                  <c:v>106.11444393170282</c:v>
                </c:pt>
                <c:pt idx="551">
                  <c:v>108.27180433779418</c:v>
                </c:pt>
                <c:pt idx="552">
                  <c:v>107.71804337794184</c:v>
                </c:pt>
                <c:pt idx="553">
                  <c:v>108.84863867097367</c:v>
                </c:pt>
                <c:pt idx="554">
                  <c:v>109.79464697738808</c:v>
                </c:pt>
                <c:pt idx="555">
                  <c:v>109.81772035071526</c:v>
                </c:pt>
                <c:pt idx="556">
                  <c:v>109.05629903091831</c:v>
                </c:pt>
                <c:pt idx="557">
                  <c:v>110.07152745731426</c:v>
                </c:pt>
                <c:pt idx="558">
                  <c:v>111.02907245039223</c:v>
                </c:pt>
                <c:pt idx="559">
                  <c:v>112.20581449007845</c:v>
                </c:pt>
                <c:pt idx="560">
                  <c:v>113.99400092293493</c:v>
                </c:pt>
                <c:pt idx="561">
                  <c:v>113.34794646977386</c:v>
                </c:pt>
                <c:pt idx="562">
                  <c:v>112.33271804337794</c:v>
                </c:pt>
                <c:pt idx="563">
                  <c:v>112.40193816335949</c:v>
                </c:pt>
                <c:pt idx="564">
                  <c:v>111.89432395016151</c:v>
                </c:pt>
                <c:pt idx="565">
                  <c:v>113.91324411628977</c:v>
                </c:pt>
                <c:pt idx="566">
                  <c:v>113.50946008306413</c:v>
                </c:pt>
                <c:pt idx="567">
                  <c:v>113.32487309644669</c:v>
                </c:pt>
                <c:pt idx="568">
                  <c:v>113.17489616982002</c:v>
                </c:pt>
                <c:pt idx="569">
                  <c:v>114.08629441624365</c:v>
                </c:pt>
                <c:pt idx="570">
                  <c:v>115.05537609598522</c:v>
                </c:pt>
                <c:pt idx="571">
                  <c:v>115.17074296262113</c:v>
                </c:pt>
                <c:pt idx="572">
                  <c:v>116.57821873557911</c:v>
                </c:pt>
                <c:pt idx="573">
                  <c:v>116.25519150899861</c:v>
                </c:pt>
                <c:pt idx="574">
                  <c:v>116.78587909552375</c:v>
                </c:pt>
                <c:pt idx="575">
                  <c:v>116.34748500230731</c:v>
                </c:pt>
                <c:pt idx="576">
                  <c:v>115.9206275957545</c:v>
                </c:pt>
                <c:pt idx="577">
                  <c:v>117.24734656206736</c:v>
                </c:pt>
                <c:pt idx="578">
                  <c:v>116.12828795569912</c:v>
                </c:pt>
                <c:pt idx="579">
                  <c:v>114.81310567604983</c:v>
                </c:pt>
                <c:pt idx="580">
                  <c:v>115.67835717581909</c:v>
                </c:pt>
                <c:pt idx="581">
                  <c:v>117.99723119520074</c:v>
                </c:pt>
                <c:pt idx="582">
                  <c:v>118.27411167512689</c:v>
                </c:pt>
                <c:pt idx="583">
                  <c:v>120.31610521458238</c:v>
                </c:pt>
                <c:pt idx="584">
                  <c:v>120.16612828795567</c:v>
                </c:pt>
                <c:pt idx="585">
                  <c:v>119.84310106137517</c:v>
                </c:pt>
                <c:pt idx="586">
                  <c:v>119.60083064143979</c:v>
                </c:pt>
                <c:pt idx="587">
                  <c:v>119.87771112136593</c:v>
                </c:pt>
                <c:pt idx="588">
                  <c:v>118.79326257498846</c:v>
                </c:pt>
                <c:pt idx="589">
                  <c:v>119.67005076142132</c:v>
                </c:pt>
                <c:pt idx="590">
                  <c:v>119.39317028149514</c:v>
                </c:pt>
                <c:pt idx="591">
                  <c:v>120.2584217812644</c:v>
                </c:pt>
                <c:pt idx="592">
                  <c:v>120.32764190124594</c:v>
                </c:pt>
                <c:pt idx="593">
                  <c:v>121.06598984771573</c:v>
                </c:pt>
                <c:pt idx="594">
                  <c:v>122.09275496077525</c:v>
                </c:pt>
                <c:pt idx="595">
                  <c:v>121.4582371942778</c:v>
                </c:pt>
                <c:pt idx="596">
                  <c:v>120.48915551453621</c:v>
                </c:pt>
                <c:pt idx="597">
                  <c:v>120.24688509460081</c:v>
                </c:pt>
                <c:pt idx="598">
                  <c:v>120.56991232118135</c:v>
                </c:pt>
                <c:pt idx="599">
                  <c:v>120.2584217812644</c:v>
                </c:pt>
                <c:pt idx="600">
                  <c:v>120.47761882787262</c:v>
                </c:pt>
                <c:pt idx="601">
                  <c:v>120.52376557452698</c:v>
                </c:pt>
                <c:pt idx="602">
                  <c:v>121.78126442085832</c:v>
                </c:pt>
                <c:pt idx="603">
                  <c:v>121.85048454083986</c:v>
                </c:pt>
                <c:pt idx="604">
                  <c:v>121.1005999077065</c:v>
                </c:pt>
                <c:pt idx="605">
                  <c:v>117.85879095523764</c:v>
                </c:pt>
                <c:pt idx="606">
                  <c:v>118.68943239501615</c:v>
                </c:pt>
                <c:pt idx="607">
                  <c:v>120.63913244116289</c:v>
                </c:pt>
                <c:pt idx="608">
                  <c:v>121.23904014766957</c:v>
                </c:pt>
                <c:pt idx="609">
                  <c:v>120.973696354407</c:v>
                </c:pt>
                <c:pt idx="610">
                  <c:v>123.11952007383478</c:v>
                </c:pt>
                <c:pt idx="611">
                  <c:v>123.50023073373326</c:v>
                </c:pt>
                <c:pt idx="612">
                  <c:v>123.8232579603138</c:v>
                </c:pt>
                <c:pt idx="613">
                  <c:v>124.46931241347482</c:v>
                </c:pt>
                <c:pt idx="614">
                  <c:v>124.34240886017535</c:v>
                </c:pt>
                <c:pt idx="615">
                  <c:v>122.92339640055374</c:v>
                </c:pt>
                <c:pt idx="616">
                  <c:v>122.81956622058144</c:v>
                </c:pt>
                <c:pt idx="617">
                  <c:v>121.38901707429626</c:v>
                </c:pt>
                <c:pt idx="618">
                  <c:v>121.48131056760496</c:v>
                </c:pt>
                <c:pt idx="619">
                  <c:v>122.61190586063681</c:v>
                </c:pt>
                <c:pt idx="620">
                  <c:v>122.06968158744809</c:v>
                </c:pt>
                <c:pt idx="621">
                  <c:v>120.83525611444392</c:v>
                </c:pt>
                <c:pt idx="622">
                  <c:v>119.31241347485002</c:v>
                </c:pt>
                <c:pt idx="623">
                  <c:v>120.51222888786339</c:v>
                </c:pt>
                <c:pt idx="624">
                  <c:v>122.33502538071066</c:v>
                </c:pt>
                <c:pt idx="625">
                  <c:v>121.01984310106137</c:v>
                </c:pt>
                <c:pt idx="626">
                  <c:v>118.5163820950623</c:v>
                </c:pt>
                <c:pt idx="627">
                  <c:v>118.72404245500692</c:v>
                </c:pt>
                <c:pt idx="628">
                  <c:v>115.75911398246423</c:v>
                </c:pt>
                <c:pt idx="629">
                  <c:v>116.63590216889708</c:v>
                </c:pt>
                <c:pt idx="630">
                  <c:v>117.98569450853714</c:v>
                </c:pt>
                <c:pt idx="631">
                  <c:v>116.23211813567143</c:v>
                </c:pt>
                <c:pt idx="632">
                  <c:v>116.67051222888784</c:v>
                </c:pt>
                <c:pt idx="633">
                  <c:v>119.08167974157821</c:v>
                </c:pt>
                <c:pt idx="634">
                  <c:v>118.32025842178126</c:v>
                </c:pt>
                <c:pt idx="635">
                  <c:v>117.7895708352561</c:v>
                </c:pt>
                <c:pt idx="636">
                  <c:v>118.44716197508075</c:v>
                </c:pt>
                <c:pt idx="637">
                  <c:v>115.80526072911859</c:v>
                </c:pt>
                <c:pt idx="638">
                  <c:v>117.02814951545915</c:v>
                </c:pt>
                <c:pt idx="639">
                  <c:v>118.32025842178126</c:v>
                </c:pt>
                <c:pt idx="640">
                  <c:v>118.48177203507153</c:v>
                </c:pt>
                <c:pt idx="641">
                  <c:v>119.43931702814952</c:v>
                </c:pt>
                <c:pt idx="642">
                  <c:v>118.72404245500692</c:v>
                </c:pt>
                <c:pt idx="643">
                  <c:v>119.23165666820488</c:v>
                </c:pt>
                <c:pt idx="644">
                  <c:v>118.83940932164283</c:v>
                </c:pt>
                <c:pt idx="645">
                  <c:v>118.92016612828795</c:v>
                </c:pt>
                <c:pt idx="646">
                  <c:v>117.00507614213198</c:v>
                </c:pt>
                <c:pt idx="647">
                  <c:v>117.89340101522841</c:v>
                </c:pt>
                <c:pt idx="648">
                  <c:v>115.97831102907243</c:v>
                </c:pt>
                <c:pt idx="649">
                  <c:v>115.71296723580986</c:v>
                </c:pt>
                <c:pt idx="650">
                  <c:v>116.50899861559758</c:v>
                </c:pt>
                <c:pt idx="651">
                  <c:v>116.97046608214121</c:v>
                </c:pt>
                <c:pt idx="652">
                  <c:v>114.87078910936776</c:v>
                </c:pt>
                <c:pt idx="653">
                  <c:v>114.10936778957081</c:v>
                </c:pt>
                <c:pt idx="654">
                  <c:v>113.5556068297185</c:v>
                </c:pt>
                <c:pt idx="655">
                  <c:v>112.29810798338717</c:v>
                </c:pt>
                <c:pt idx="656">
                  <c:v>111.12136594370095</c:v>
                </c:pt>
                <c:pt idx="657">
                  <c:v>111.82510383017996</c:v>
                </c:pt>
                <c:pt idx="658">
                  <c:v>113.98246423627134</c:v>
                </c:pt>
                <c:pt idx="659">
                  <c:v>111.54822335025381</c:v>
                </c:pt>
                <c:pt idx="660">
                  <c:v>112.69035532994924</c:v>
                </c:pt>
                <c:pt idx="661">
                  <c:v>113.01338255652975</c:v>
                </c:pt>
                <c:pt idx="662">
                  <c:v>113.01338255652975</c:v>
                </c:pt>
                <c:pt idx="663">
                  <c:v>113.87863405629901</c:v>
                </c:pt>
                <c:pt idx="664">
                  <c:v>112.20581449007845</c:v>
                </c:pt>
                <c:pt idx="665">
                  <c:v>111.82510383017996</c:v>
                </c:pt>
                <c:pt idx="666">
                  <c:v>109.69081679741576</c:v>
                </c:pt>
                <c:pt idx="667">
                  <c:v>109.12551915089985</c:v>
                </c:pt>
                <c:pt idx="668">
                  <c:v>109.47161975080758</c:v>
                </c:pt>
                <c:pt idx="669">
                  <c:v>112.07891093677895</c:v>
                </c:pt>
                <c:pt idx="670">
                  <c:v>113.33640978311028</c:v>
                </c:pt>
                <c:pt idx="671">
                  <c:v>113.04799261652052</c:v>
                </c:pt>
                <c:pt idx="672">
                  <c:v>113.05952930318412</c:v>
                </c:pt>
                <c:pt idx="673">
                  <c:v>113.77480387632673</c:v>
                </c:pt>
                <c:pt idx="674">
                  <c:v>113.35948315643746</c:v>
                </c:pt>
                <c:pt idx="675">
                  <c:v>113.02491924319334</c:v>
                </c:pt>
                <c:pt idx="676">
                  <c:v>114.13244116289802</c:v>
                </c:pt>
                <c:pt idx="677">
                  <c:v>114.27088140286108</c:v>
                </c:pt>
                <c:pt idx="678">
                  <c:v>116.10521458237193</c:v>
                </c:pt>
                <c:pt idx="679">
                  <c:v>116.77434240886015</c:v>
                </c:pt>
                <c:pt idx="680">
                  <c:v>116.19750807568066</c:v>
                </c:pt>
                <c:pt idx="681">
                  <c:v>115.34379326257498</c:v>
                </c:pt>
                <c:pt idx="682">
                  <c:v>113.59021688970925</c:v>
                </c:pt>
                <c:pt idx="683">
                  <c:v>113.48638670973696</c:v>
                </c:pt>
                <c:pt idx="684">
                  <c:v>115.04383940932163</c:v>
                </c:pt>
                <c:pt idx="685">
                  <c:v>114.49007844946931</c:v>
                </c:pt>
                <c:pt idx="686">
                  <c:v>117.52422704199354</c:v>
                </c:pt>
                <c:pt idx="687">
                  <c:v>119.24319335486848</c:v>
                </c:pt>
                <c:pt idx="688">
                  <c:v>120.45454545454544</c:v>
                </c:pt>
                <c:pt idx="689">
                  <c:v>120.45454545454544</c:v>
                </c:pt>
                <c:pt idx="690">
                  <c:v>120.26995846792801</c:v>
                </c:pt>
                <c:pt idx="691">
                  <c:v>119.08167974157821</c:v>
                </c:pt>
                <c:pt idx="692">
                  <c:v>118.6432856483618</c:v>
                </c:pt>
                <c:pt idx="693">
                  <c:v>119.65851407475772</c:v>
                </c:pt>
                <c:pt idx="694">
                  <c:v>119.65851407475772</c:v>
                </c:pt>
                <c:pt idx="695">
                  <c:v>118.40101522842639</c:v>
                </c:pt>
                <c:pt idx="696">
                  <c:v>120.01615136132901</c:v>
                </c:pt>
                <c:pt idx="697">
                  <c:v>120.23534840793724</c:v>
                </c:pt>
                <c:pt idx="698">
                  <c:v>119.93539455468387</c:v>
                </c:pt>
                <c:pt idx="699">
                  <c:v>121.27365020766037</c:v>
                </c:pt>
                <c:pt idx="700">
                  <c:v>122.64651592062759</c:v>
                </c:pt>
                <c:pt idx="701">
                  <c:v>120.91601292108906</c:v>
                </c:pt>
                <c:pt idx="702">
                  <c:v>117.9164743885556</c:v>
                </c:pt>
                <c:pt idx="703">
                  <c:v>117.36271342870327</c:v>
                </c:pt>
                <c:pt idx="704">
                  <c:v>117.29349330872172</c:v>
                </c:pt>
                <c:pt idx="705">
                  <c:v>120.20073834794647</c:v>
                </c:pt>
                <c:pt idx="706">
                  <c:v>121.71204430087678</c:v>
                </c:pt>
                <c:pt idx="707">
                  <c:v>123.65020766035994</c:v>
                </c:pt>
                <c:pt idx="708">
                  <c:v>122.45039224734656</c:v>
                </c:pt>
                <c:pt idx="709">
                  <c:v>123.01568989386247</c:v>
                </c:pt>
                <c:pt idx="710">
                  <c:v>121.4697738809414</c:v>
                </c:pt>
                <c:pt idx="711">
                  <c:v>124.42316566682048</c:v>
                </c:pt>
                <c:pt idx="712">
                  <c:v>124.99999999999997</c:v>
                </c:pt>
                <c:pt idx="713">
                  <c:v>125.93447161975079</c:v>
                </c:pt>
                <c:pt idx="714">
                  <c:v>126.31518227964926</c:v>
                </c:pt>
                <c:pt idx="715">
                  <c:v>126.81125980618366</c:v>
                </c:pt>
                <c:pt idx="716">
                  <c:v>126.6382095062298</c:v>
                </c:pt>
                <c:pt idx="717">
                  <c:v>126.08444854637749</c:v>
                </c:pt>
                <c:pt idx="718">
                  <c:v>126.93816335948316</c:v>
                </c:pt>
                <c:pt idx="719">
                  <c:v>126.94970004614675</c:v>
                </c:pt>
                <c:pt idx="720">
                  <c:v>127.365020766036</c:v>
                </c:pt>
                <c:pt idx="721">
                  <c:v>128.11490539916934</c:v>
                </c:pt>
                <c:pt idx="722">
                  <c:v>127.50346100599906</c:v>
                </c:pt>
                <c:pt idx="723">
                  <c:v>127.99953853253345</c:v>
                </c:pt>
                <c:pt idx="724">
                  <c:v>126.46515920627594</c:v>
                </c:pt>
                <c:pt idx="725">
                  <c:v>125.72681125980618</c:v>
                </c:pt>
                <c:pt idx="726">
                  <c:v>125.87678818643285</c:v>
                </c:pt>
                <c:pt idx="727">
                  <c:v>126.44208583294876</c:v>
                </c:pt>
                <c:pt idx="728">
                  <c:v>125.55376095985231</c:v>
                </c:pt>
                <c:pt idx="729">
                  <c:v>125.42685740655281</c:v>
                </c:pt>
                <c:pt idx="730">
                  <c:v>124.46931241347482</c:v>
                </c:pt>
                <c:pt idx="731">
                  <c:v>125.05768343331796</c:v>
                </c:pt>
                <c:pt idx="732">
                  <c:v>126.10752191970465</c:v>
                </c:pt>
                <c:pt idx="733">
                  <c:v>124.68850946008305</c:v>
                </c:pt>
                <c:pt idx="734">
                  <c:v>124.7692662667282</c:v>
                </c:pt>
                <c:pt idx="735">
                  <c:v>127.67651130595293</c:v>
                </c:pt>
                <c:pt idx="736">
                  <c:v>127.99953853253345</c:v>
                </c:pt>
                <c:pt idx="737">
                  <c:v>127.7111213659437</c:v>
                </c:pt>
                <c:pt idx="738">
                  <c:v>128.13797877249652</c:v>
                </c:pt>
                <c:pt idx="739">
                  <c:v>128.29949238578681</c:v>
                </c:pt>
                <c:pt idx="740">
                  <c:v>128.06875865251499</c:v>
                </c:pt>
                <c:pt idx="741">
                  <c:v>129.73004153207197</c:v>
                </c:pt>
                <c:pt idx="742">
                  <c:v>129.29164743885556</c:v>
                </c:pt>
                <c:pt idx="743">
                  <c:v>128.71481310567603</c:v>
                </c:pt>
                <c:pt idx="744">
                  <c:v>129.2455006922012</c:v>
                </c:pt>
                <c:pt idx="745">
                  <c:v>129.06091370558374</c:v>
                </c:pt>
                <c:pt idx="746">
                  <c:v>129.66082141209043</c:v>
                </c:pt>
                <c:pt idx="747">
                  <c:v>129.222427318874</c:v>
                </c:pt>
                <c:pt idx="748">
                  <c:v>129.75311490539917</c:v>
                </c:pt>
                <c:pt idx="749">
                  <c:v>127.38809413936316</c:v>
                </c:pt>
                <c:pt idx="750">
                  <c:v>127.82648823257958</c:v>
                </c:pt>
                <c:pt idx="751">
                  <c:v>126.33825565297647</c:v>
                </c:pt>
                <c:pt idx="752">
                  <c:v>128.1610521458237</c:v>
                </c:pt>
                <c:pt idx="753">
                  <c:v>127.82648823257958</c:v>
                </c:pt>
                <c:pt idx="754">
                  <c:v>127.7111213659437</c:v>
                </c:pt>
                <c:pt idx="755">
                  <c:v>127.68804799261653</c:v>
                </c:pt>
                <c:pt idx="756">
                  <c:v>129.0032302722658</c:v>
                </c:pt>
                <c:pt idx="757">
                  <c:v>127.74573142593447</c:v>
                </c:pt>
                <c:pt idx="758">
                  <c:v>127.16889709275496</c:v>
                </c:pt>
                <c:pt idx="759">
                  <c:v>126.48823257960314</c:v>
                </c:pt>
                <c:pt idx="760">
                  <c:v>127.4919243193355</c:v>
                </c:pt>
                <c:pt idx="761">
                  <c:v>126.82279649284725</c:v>
                </c:pt>
                <c:pt idx="762">
                  <c:v>127.48038763267189</c:v>
                </c:pt>
                <c:pt idx="763">
                  <c:v>129.16474388555605</c:v>
                </c:pt>
                <c:pt idx="764">
                  <c:v>129.81079833871712</c:v>
                </c:pt>
                <c:pt idx="765">
                  <c:v>130.0530687586525</c:v>
                </c:pt>
                <c:pt idx="766">
                  <c:v>129.06091370558374</c:v>
                </c:pt>
                <c:pt idx="767">
                  <c:v>128.54176280572219</c:v>
                </c:pt>
                <c:pt idx="768">
                  <c:v>126.3959390862944</c:v>
                </c:pt>
                <c:pt idx="769">
                  <c:v>126.97277341947392</c:v>
                </c:pt>
                <c:pt idx="770">
                  <c:v>127.30733733271802</c:v>
                </c:pt>
                <c:pt idx="771">
                  <c:v>127.43424088601752</c:v>
                </c:pt>
                <c:pt idx="772">
                  <c:v>126.93816335948316</c:v>
                </c:pt>
                <c:pt idx="773">
                  <c:v>128.02261190586063</c:v>
                </c:pt>
                <c:pt idx="774">
                  <c:v>127.3419473927088</c:v>
                </c:pt>
                <c:pt idx="775">
                  <c:v>128.94554683894782</c:v>
                </c:pt>
                <c:pt idx="776">
                  <c:v>129.48777111213658</c:v>
                </c:pt>
                <c:pt idx="777">
                  <c:v>128.71481310567603</c:v>
                </c:pt>
                <c:pt idx="778">
                  <c:v>129.43008767881864</c:v>
                </c:pt>
                <c:pt idx="779">
                  <c:v>127.74573142593447</c:v>
                </c:pt>
                <c:pt idx="780">
                  <c:v>127.52653437932626</c:v>
                </c:pt>
                <c:pt idx="781">
                  <c:v>127.38809413936316</c:v>
                </c:pt>
                <c:pt idx="782">
                  <c:v>127.04199353945546</c:v>
                </c:pt>
                <c:pt idx="783">
                  <c:v>127.54960775265343</c:v>
                </c:pt>
                <c:pt idx="784">
                  <c:v>126.45362251961237</c:v>
                </c:pt>
                <c:pt idx="785">
                  <c:v>125.21919704660822</c:v>
                </c:pt>
                <c:pt idx="786">
                  <c:v>123.96169820027687</c:v>
                </c:pt>
                <c:pt idx="787">
                  <c:v>126.67281956622057</c:v>
                </c:pt>
                <c:pt idx="788">
                  <c:v>127.09967697277339</c:v>
                </c:pt>
                <c:pt idx="789">
                  <c:v>127.44577757268112</c:v>
                </c:pt>
                <c:pt idx="790">
                  <c:v>128.1956622058145</c:v>
                </c:pt>
                <c:pt idx="791">
                  <c:v>128.96862021227506</c:v>
                </c:pt>
                <c:pt idx="792">
                  <c:v>128.33410244577757</c:v>
                </c:pt>
                <c:pt idx="793">
                  <c:v>128.7494231656668</c:v>
                </c:pt>
                <c:pt idx="794">
                  <c:v>128.89940009229349</c:v>
                </c:pt>
                <c:pt idx="795">
                  <c:v>130.39916935856021</c:v>
                </c:pt>
                <c:pt idx="796">
                  <c:v>130.14536225196122</c:v>
                </c:pt>
                <c:pt idx="797">
                  <c:v>130.31841255191509</c:v>
                </c:pt>
                <c:pt idx="798">
                  <c:v>130.37609598523304</c:v>
                </c:pt>
                <c:pt idx="799">
                  <c:v>130.71065989847713</c:v>
                </c:pt>
                <c:pt idx="800">
                  <c:v>131.61052145823717</c:v>
                </c:pt>
                <c:pt idx="801">
                  <c:v>131.78357175819104</c:v>
                </c:pt>
                <c:pt idx="802">
                  <c:v>131.95662205814489</c:v>
                </c:pt>
                <c:pt idx="803">
                  <c:v>132.40655283802488</c:v>
                </c:pt>
                <c:pt idx="804">
                  <c:v>132.48730964467003</c:v>
                </c:pt>
                <c:pt idx="805">
                  <c:v>132.01430549146284</c:v>
                </c:pt>
                <c:pt idx="806">
                  <c:v>131.91047531149053</c:v>
                </c:pt>
                <c:pt idx="807">
                  <c:v>131.84125519150899</c:v>
                </c:pt>
                <c:pt idx="808">
                  <c:v>132.44116289801568</c:v>
                </c:pt>
                <c:pt idx="809">
                  <c:v>133.00646054453159</c:v>
                </c:pt>
                <c:pt idx="810">
                  <c:v>133.08721735117672</c:v>
                </c:pt>
                <c:pt idx="811">
                  <c:v>132.68343331795108</c:v>
                </c:pt>
                <c:pt idx="812">
                  <c:v>132.47577295800644</c:v>
                </c:pt>
                <c:pt idx="813">
                  <c:v>132.53345639132439</c:v>
                </c:pt>
                <c:pt idx="814">
                  <c:v>131.66820489155512</c:v>
                </c:pt>
                <c:pt idx="815">
                  <c:v>132.09506229810796</c:v>
                </c:pt>
                <c:pt idx="816">
                  <c:v>134.7715736040609</c:v>
                </c:pt>
                <c:pt idx="817">
                  <c:v>135.4983848638671</c:v>
                </c:pt>
                <c:pt idx="818">
                  <c:v>135.97138901707427</c:v>
                </c:pt>
                <c:pt idx="819">
                  <c:v>135.40609137055836</c:v>
                </c:pt>
                <c:pt idx="820">
                  <c:v>135.22150438394092</c:v>
                </c:pt>
                <c:pt idx="821">
                  <c:v>136.15597600369171</c:v>
                </c:pt>
                <c:pt idx="822">
                  <c:v>135.7983387171204</c:v>
                </c:pt>
                <c:pt idx="823">
                  <c:v>135.63682510383018</c:v>
                </c:pt>
                <c:pt idx="824">
                  <c:v>135.12921089063218</c:v>
                </c:pt>
                <c:pt idx="825">
                  <c:v>135.15228426395939</c:v>
                </c:pt>
                <c:pt idx="826">
                  <c:v>135.19843101061372</c:v>
                </c:pt>
                <c:pt idx="827">
                  <c:v>135.82141209044764</c:v>
                </c:pt>
                <c:pt idx="828">
                  <c:v>135.67143516382095</c:v>
                </c:pt>
                <c:pt idx="829">
                  <c:v>136.02907245039225</c:v>
                </c:pt>
                <c:pt idx="830">
                  <c:v>135.97138901707427</c:v>
                </c:pt>
                <c:pt idx="831">
                  <c:v>136.24826949700045</c:v>
                </c:pt>
                <c:pt idx="832">
                  <c:v>136.62898015689893</c:v>
                </c:pt>
                <c:pt idx="833">
                  <c:v>137.02122750346101</c:v>
                </c:pt>
                <c:pt idx="834">
                  <c:v>136.84817720350713</c:v>
                </c:pt>
                <c:pt idx="835">
                  <c:v>137.29810798338718</c:v>
                </c:pt>
                <c:pt idx="836">
                  <c:v>136.51361329026301</c:v>
                </c:pt>
                <c:pt idx="837">
                  <c:v>135.84448546377479</c:v>
                </c:pt>
                <c:pt idx="838">
                  <c:v>136.30595293031843</c:v>
                </c:pt>
                <c:pt idx="839">
                  <c:v>134.27549607752653</c:v>
                </c:pt>
                <c:pt idx="840">
                  <c:v>135.05999077065064</c:v>
                </c:pt>
                <c:pt idx="841">
                  <c:v>134.58698661744347</c:v>
                </c:pt>
                <c:pt idx="842">
                  <c:v>134.28703276419012</c:v>
                </c:pt>
                <c:pt idx="843">
                  <c:v>135.92524227041991</c:v>
                </c:pt>
                <c:pt idx="844">
                  <c:v>135.10613751730503</c:v>
                </c:pt>
                <c:pt idx="845">
                  <c:v>135.78680203045684</c:v>
                </c:pt>
                <c:pt idx="846">
                  <c:v>136.45592985694509</c:v>
                </c:pt>
                <c:pt idx="847">
                  <c:v>136.23673281033686</c:v>
                </c:pt>
                <c:pt idx="848">
                  <c:v>136.01753576372866</c:v>
                </c:pt>
                <c:pt idx="849">
                  <c:v>135.75219197046607</c:v>
                </c:pt>
                <c:pt idx="850">
                  <c:v>137.28657129672357</c:v>
                </c:pt>
                <c:pt idx="851">
                  <c:v>136.89432395016149</c:v>
                </c:pt>
                <c:pt idx="852">
                  <c:v>134.91001384402398</c:v>
                </c:pt>
                <c:pt idx="853">
                  <c:v>136.6635902168897</c:v>
                </c:pt>
                <c:pt idx="854">
                  <c:v>136.58283341024458</c:v>
                </c:pt>
                <c:pt idx="855">
                  <c:v>134.89847715736042</c:v>
                </c:pt>
                <c:pt idx="856">
                  <c:v>136.13290263036455</c:v>
                </c:pt>
                <c:pt idx="857">
                  <c:v>137.44808491001385</c:v>
                </c:pt>
                <c:pt idx="858">
                  <c:v>137.02122750346101</c:v>
                </c:pt>
                <c:pt idx="859">
                  <c:v>136.96354407014303</c:v>
                </c:pt>
                <c:pt idx="860">
                  <c:v>139.43239501615133</c:v>
                </c:pt>
                <c:pt idx="861">
                  <c:v>139.14397784956159</c:v>
                </c:pt>
                <c:pt idx="862">
                  <c:v>139.14397784956159</c:v>
                </c:pt>
                <c:pt idx="863">
                  <c:v>140.27457314259345</c:v>
                </c:pt>
                <c:pt idx="864">
                  <c:v>140.13613290263035</c:v>
                </c:pt>
                <c:pt idx="865">
                  <c:v>140.1938163359483</c:v>
                </c:pt>
                <c:pt idx="866">
                  <c:v>140.25149976926625</c:v>
                </c:pt>
                <c:pt idx="867">
                  <c:v>141.76280572219656</c:v>
                </c:pt>
                <c:pt idx="868">
                  <c:v>141.27826488232577</c:v>
                </c:pt>
                <c:pt idx="869">
                  <c:v>141.01292108906321</c:v>
                </c:pt>
                <c:pt idx="870">
                  <c:v>140.41301338255653</c:v>
                </c:pt>
                <c:pt idx="871">
                  <c:v>140.95523765574526</c:v>
                </c:pt>
                <c:pt idx="872">
                  <c:v>140.05537609598522</c:v>
                </c:pt>
                <c:pt idx="873">
                  <c:v>139.87078910936776</c:v>
                </c:pt>
                <c:pt idx="874">
                  <c:v>139.5016151361329</c:v>
                </c:pt>
                <c:pt idx="875">
                  <c:v>139.75542224273187</c:v>
                </c:pt>
                <c:pt idx="876">
                  <c:v>139.15551453622518</c:v>
                </c:pt>
                <c:pt idx="877">
                  <c:v>139.80156898938625</c:v>
                </c:pt>
                <c:pt idx="878">
                  <c:v>141.57821873557913</c:v>
                </c:pt>
                <c:pt idx="879">
                  <c:v>140.32071988924778</c:v>
                </c:pt>
                <c:pt idx="880">
                  <c:v>138.86709736963542</c:v>
                </c:pt>
                <c:pt idx="881">
                  <c:v>136.69820027688047</c:v>
                </c:pt>
                <c:pt idx="882">
                  <c:v>137.03276419012457</c:v>
                </c:pt>
                <c:pt idx="883">
                  <c:v>137.22888786340562</c:v>
                </c:pt>
                <c:pt idx="884">
                  <c:v>139.7208121827411</c:v>
                </c:pt>
                <c:pt idx="885">
                  <c:v>140.63221042916473</c:v>
                </c:pt>
                <c:pt idx="886">
                  <c:v>139.47854176280572</c:v>
                </c:pt>
                <c:pt idx="887">
                  <c:v>138.68251038301798</c:v>
                </c:pt>
                <c:pt idx="888">
                  <c:v>137.6095985233041</c:v>
                </c:pt>
                <c:pt idx="889">
                  <c:v>135.53299492385787</c:v>
                </c:pt>
                <c:pt idx="890">
                  <c:v>135.54453161052146</c:v>
                </c:pt>
                <c:pt idx="891">
                  <c:v>136.32902630364558</c:v>
                </c:pt>
                <c:pt idx="892">
                  <c:v>136.58283341024458</c:v>
                </c:pt>
                <c:pt idx="893">
                  <c:v>139.92847254268574</c:v>
                </c:pt>
                <c:pt idx="894">
                  <c:v>141.00138440239962</c:v>
                </c:pt>
                <c:pt idx="895">
                  <c:v>142.13197969543145</c:v>
                </c:pt>
                <c:pt idx="896">
                  <c:v>141.77434240886015</c:v>
                </c:pt>
                <c:pt idx="897">
                  <c:v>142.63959390862942</c:v>
                </c:pt>
                <c:pt idx="898">
                  <c:v>142.36271342870327</c:v>
                </c:pt>
                <c:pt idx="899">
                  <c:v>142.47808029533917</c:v>
                </c:pt>
                <c:pt idx="900">
                  <c:v>143.00876788186432</c:v>
                </c:pt>
                <c:pt idx="901">
                  <c:v>144.5546838947854</c:v>
                </c:pt>
                <c:pt idx="902">
                  <c:v>144.60083064143979</c:v>
                </c:pt>
                <c:pt idx="903">
                  <c:v>145.00461467466545</c:v>
                </c:pt>
                <c:pt idx="904">
                  <c:v>146.08906322104289</c:v>
                </c:pt>
                <c:pt idx="905">
                  <c:v>146.25057683433315</c:v>
                </c:pt>
                <c:pt idx="906">
                  <c:v>146.87355791416707</c:v>
                </c:pt>
                <c:pt idx="907">
                  <c:v>146.61975080756807</c:v>
                </c:pt>
                <c:pt idx="908">
                  <c:v>147.26580526072911</c:v>
                </c:pt>
                <c:pt idx="909">
                  <c:v>148.52330410706045</c:v>
                </c:pt>
                <c:pt idx="910">
                  <c:v>148.52330410706045</c:v>
                </c:pt>
                <c:pt idx="911">
                  <c:v>148.9501615136133</c:v>
                </c:pt>
                <c:pt idx="912">
                  <c:v>149.57314259344716</c:v>
                </c:pt>
                <c:pt idx="913">
                  <c:v>149.71158283341023</c:v>
                </c:pt>
                <c:pt idx="914">
                  <c:v>150.06922011998154</c:v>
                </c:pt>
                <c:pt idx="915">
                  <c:v>146.89663128749422</c:v>
                </c:pt>
                <c:pt idx="916">
                  <c:v>146.61975080756807</c:v>
                </c:pt>
                <c:pt idx="917">
                  <c:v>147.10429164743886</c:v>
                </c:pt>
                <c:pt idx="918">
                  <c:v>148.99630826026765</c:v>
                </c:pt>
                <c:pt idx="919">
                  <c:v>146.25057683433315</c:v>
                </c:pt>
                <c:pt idx="920">
                  <c:v>146.79280110752191</c:v>
                </c:pt>
                <c:pt idx="921">
                  <c:v>145.51222888786339</c:v>
                </c:pt>
                <c:pt idx="922">
                  <c:v>144.41624365482232</c:v>
                </c:pt>
                <c:pt idx="923">
                  <c:v>144.90078449469311</c:v>
                </c:pt>
                <c:pt idx="924">
                  <c:v>142.8011075219197</c:v>
                </c:pt>
                <c:pt idx="925">
                  <c:v>141.16289801568988</c:v>
                </c:pt>
                <c:pt idx="926">
                  <c:v>142.96262113520996</c:v>
                </c:pt>
                <c:pt idx="927">
                  <c:v>142.88186432856483</c:v>
                </c:pt>
                <c:pt idx="928">
                  <c:v>141.19750807568064</c:v>
                </c:pt>
                <c:pt idx="929">
                  <c:v>140.79372404245501</c:v>
                </c:pt>
                <c:pt idx="930">
                  <c:v>140.71296723580986</c:v>
                </c:pt>
                <c:pt idx="931">
                  <c:v>141.01292108906321</c:v>
                </c:pt>
                <c:pt idx="932">
                  <c:v>142.03968620212274</c:v>
                </c:pt>
                <c:pt idx="933">
                  <c:v>141.93585602215043</c:v>
                </c:pt>
                <c:pt idx="934">
                  <c:v>141.63590216889708</c:v>
                </c:pt>
                <c:pt idx="935">
                  <c:v>137.43654822335023</c:v>
                </c:pt>
                <c:pt idx="936">
                  <c:v>135.85602215043841</c:v>
                </c:pt>
                <c:pt idx="937">
                  <c:v>133.61790493770187</c:v>
                </c:pt>
                <c:pt idx="938">
                  <c:v>135.56760498384864</c:v>
                </c:pt>
                <c:pt idx="939">
                  <c:v>137.94416243654823</c:v>
                </c:pt>
                <c:pt idx="940">
                  <c:v>138.84402399630824</c:v>
                </c:pt>
                <c:pt idx="941">
                  <c:v>138.17489616982002</c:v>
                </c:pt>
                <c:pt idx="942">
                  <c:v>139.77849561605908</c:v>
                </c:pt>
                <c:pt idx="943">
                  <c:v>139.21319796954316</c:v>
                </c:pt>
                <c:pt idx="944">
                  <c:v>138.4402399630826</c:v>
                </c:pt>
                <c:pt idx="945">
                  <c:v>141.69358560221502</c:v>
                </c:pt>
                <c:pt idx="946">
                  <c:v>139.8246423627134</c:v>
                </c:pt>
                <c:pt idx="947">
                  <c:v>141.80895246885095</c:v>
                </c:pt>
                <c:pt idx="948">
                  <c:v>142.87032764190124</c:v>
                </c:pt>
                <c:pt idx="949">
                  <c:v>143.02030456852791</c:v>
                </c:pt>
                <c:pt idx="950">
                  <c:v>143.83940932164282</c:v>
                </c:pt>
                <c:pt idx="951">
                  <c:v>143.67789570835257</c:v>
                </c:pt>
                <c:pt idx="952">
                  <c:v>144.28934010152284</c:v>
                </c:pt>
                <c:pt idx="953">
                  <c:v>143.28564836179049</c:v>
                </c:pt>
                <c:pt idx="954">
                  <c:v>144.12782648823256</c:v>
                </c:pt>
                <c:pt idx="955">
                  <c:v>145.45454545454544</c:v>
                </c:pt>
                <c:pt idx="956">
                  <c:v>145.5006922011998</c:v>
                </c:pt>
                <c:pt idx="957">
                  <c:v>145.719889247808</c:v>
                </c:pt>
                <c:pt idx="958">
                  <c:v>145.30456852791878</c:v>
                </c:pt>
                <c:pt idx="959">
                  <c:v>146.1121365943701</c:v>
                </c:pt>
                <c:pt idx="960">
                  <c:v>145.40839870789108</c:v>
                </c:pt>
                <c:pt idx="961">
                  <c:v>145.05076142131978</c:v>
                </c:pt>
                <c:pt idx="962">
                  <c:v>145.1315182279649</c:v>
                </c:pt>
                <c:pt idx="963">
                  <c:v>145.31610521458236</c:v>
                </c:pt>
                <c:pt idx="964">
                  <c:v>145.39686202122749</c:v>
                </c:pt>
                <c:pt idx="965">
                  <c:v>147.20812182741113</c:v>
                </c:pt>
                <c:pt idx="966">
                  <c:v>147.62344254730039</c:v>
                </c:pt>
                <c:pt idx="967">
                  <c:v>147.91185971389015</c:v>
                </c:pt>
                <c:pt idx="968">
                  <c:v>147.31195200738347</c:v>
                </c:pt>
                <c:pt idx="969">
                  <c:v>147.09275496077524</c:v>
                </c:pt>
                <c:pt idx="970">
                  <c:v>147.7503461005999</c:v>
                </c:pt>
                <c:pt idx="971">
                  <c:v>148.60406091370558</c:v>
                </c:pt>
                <c:pt idx="972">
                  <c:v>148.68481772035068</c:v>
                </c:pt>
                <c:pt idx="973">
                  <c:v>149.51545916012918</c:v>
                </c:pt>
                <c:pt idx="974">
                  <c:v>150.05768343331795</c:v>
                </c:pt>
                <c:pt idx="975">
                  <c:v>148.46562067374251</c:v>
                </c:pt>
                <c:pt idx="976">
                  <c:v>148.96169820027689</c:v>
                </c:pt>
                <c:pt idx="977">
                  <c:v>148.18874019381633</c:v>
                </c:pt>
                <c:pt idx="978">
                  <c:v>146.96585140747575</c:v>
                </c:pt>
                <c:pt idx="979">
                  <c:v>146.23904014766958</c:v>
                </c:pt>
                <c:pt idx="980">
                  <c:v>147.66958929395477</c:v>
                </c:pt>
                <c:pt idx="981">
                  <c:v>148.23488694047069</c:v>
                </c:pt>
                <c:pt idx="982">
                  <c:v>148.11952007383476</c:v>
                </c:pt>
                <c:pt idx="983">
                  <c:v>145.46608214120903</c:v>
                </c:pt>
                <c:pt idx="984">
                  <c:v>144.94693124134747</c:v>
                </c:pt>
                <c:pt idx="985">
                  <c:v>146.03137978772494</c:v>
                </c:pt>
                <c:pt idx="986">
                  <c:v>144.6585140747577</c:v>
                </c:pt>
                <c:pt idx="987">
                  <c:v>147.39270881402859</c:v>
                </c:pt>
                <c:pt idx="988">
                  <c:v>146.83894785417627</c:v>
                </c:pt>
                <c:pt idx="989">
                  <c:v>147.15043839409321</c:v>
                </c:pt>
                <c:pt idx="990">
                  <c:v>148.23488694047069</c:v>
                </c:pt>
                <c:pt idx="991">
                  <c:v>148.98477157360404</c:v>
                </c:pt>
                <c:pt idx="992">
                  <c:v>148.85786802030455</c:v>
                </c:pt>
                <c:pt idx="993">
                  <c:v>150.78449469312412</c:v>
                </c:pt>
                <c:pt idx="994">
                  <c:v>151.31518227964926</c:v>
                </c:pt>
                <c:pt idx="995">
                  <c:v>151.25749884633132</c:v>
                </c:pt>
                <c:pt idx="996">
                  <c:v>151.60359944623903</c:v>
                </c:pt>
                <c:pt idx="997">
                  <c:v>152.57268112598061</c:v>
                </c:pt>
                <c:pt idx="998">
                  <c:v>151.85740655283803</c:v>
                </c:pt>
                <c:pt idx="999">
                  <c:v>152.50346100599904</c:v>
                </c:pt>
                <c:pt idx="1000">
                  <c:v>153.36871250576834</c:v>
                </c:pt>
                <c:pt idx="1001">
                  <c:v>152.95339178587909</c:v>
                </c:pt>
                <c:pt idx="1002">
                  <c:v>152.2150438394093</c:v>
                </c:pt>
                <c:pt idx="1003">
                  <c:v>152.52653437932625</c:v>
                </c:pt>
                <c:pt idx="1004">
                  <c:v>152.45731425934471</c:v>
                </c:pt>
                <c:pt idx="1005">
                  <c:v>152.45731425934471</c:v>
                </c:pt>
                <c:pt idx="1006">
                  <c:v>152.05353022611905</c:v>
                </c:pt>
                <c:pt idx="1007">
                  <c:v>151.22288878634055</c:v>
                </c:pt>
                <c:pt idx="1008">
                  <c:v>152.39963082602674</c:v>
                </c:pt>
                <c:pt idx="1009">
                  <c:v>151.39593908629439</c:v>
                </c:pt>
                <c:pt idx="1010">
                  <c:v>150.79603137978773</c:v>
                </c:pt>
                <c:pt idx="1011">
                  <c:v>150.96908167974158</c:v>
                </c:pt>
                <c:pt idx="1012">
                  <c:v>150.62298107983386</c:v>
                </c:pt>
                <c:pt idx="1013">
                  <c:v>149.48084910013841</c:v>
                </c:pt>
                <c:pt idx="1014">
                  <c:v>148.67328103368712</c:v>
                </c:pt>
                <c:pt idx="1015">
                  <c:v>151.18827872634978</c:v>
                </c:pt>
                <c:pt idx="1016">
                  <c:v>151.83433317951085</c:v>
                </c:pt>
                <c:pt idx="1017">
                  <c:v>152.13428703276421</c:v>
                </c:pt>
                <c:pt idx="1018">
                  <c:v>153.40332256575911</c:v>
                </c:pt>
                <c:pt idx="1019">
                  <c:v>153.79556991232118</c:v>
                </c:pt>
                <c:pt idx="1020">
                  <c:v>154.00323027226582</c:v>
                </c:pt>
                <c:pt idx="1021">
                  <c:v>155.22611905860637</c:v>
                </c:pt>
                <c:pt idx="1022">
                  <c:v>155.7452699584679</c:v>
                </c:pt>
                <c:pt idx="1023">
                  <c:v>156.44900784494692</c:v>
                </c:pt>
                <c:pt idx="1024">
                  <c:v>155.52607291185973</c:v>
                </c:pt>
                <c:pt idx="1025">
                  <c:v>156.20673742501151</c:v>
                </c:pt>
                <c:pt idx="1026">
                  <c:v>156.06829718504844</c:v>
                </c:pt>
                <c:pt idx="1027">
                  <c:v>155.77988001845867</c:v>
                </c:pt>
                <c:pt idx="1028">
                  <c:v>156.39132441162897</c:v>
                </c:pt>
                <c:pt idx="1029">
                  <c:v>156.41439778495615</c:v>
                </c:pt>
                <c:pt idx="1030">
                  <c:v>157.18735579141671</c:v>
                </c:pt>
                <c:pt idx="1031">
                  <c:v>156.76049838486387</c:v>
                </c:pt>
                <c:pt idx="1032">
                  <c:v>157.24503922473465</c:v>
                </c:pt>
                <c:pt idx="1033">
                  <c:v>156.95662205814492</c:v>
                </c:pt>
                <c:pt idx="1034">
                  <c:v>157.71804337794185</c:v>
                </c:pt>
                <c:pt idx="1035">
                  <c:v>157.69497000461465</c:v>
                </c:pt>
                <c:pt idx="1036">
                  <c:v>157.45269958467924</c:v>
                </c:pt>
                <c:pt idx="1037">
                  <c:v>157.86802030456852</c:v>
                </c:pt>
                <c:pt idx="1038">
                  <c:v>156.9450853714813</c:v>
                </c:pt>
                <c:pt idx="1039">
                  <c:v>156.12598061836641</c:v>
                </c:pt>
                <c:pt idx="1040">
                  <c:v>157.39501615136135</c:v>
                </c:pt>
                <c:pt idx="1041">
                  <c:v>157.70650669127824</c:v>
                </c:pt>
                <c:pt idx="1042">
                  <c:v>158.53714813105674</c:v>
                </c:pt>
                <c:pt idx="1043">
                  <c:v>157.49884633133365</c:v>
                </c:pt>
                <c:pt idx="1044">
                  <c:v>157.71804337794185</c:v>
                </c:pt>
                <c:pt idx="1045">
                  <c:v>157.47577295800644</c:v>
                </c:pt>
                <c:pt idx="1046">
                  <c:v>157.64882325796032</c:v>
                </c:pt>
                <c:pt idx="1047">
                  <c:v>158.34102445777572</c:v>
                </c:pt>
                <c:pt idx="1048">
                  <c:v>157.39501615136135</c:v>
                </c:pt>
                <c:pt idx="1049">
                  <c:v>158.28334102445777</c:v>
                </c:pt>
                <c:pt idx="1050">
                  <c:v>158.84863867097368</c:v>
                </c:pt>
                <c:pt idx="1051">
                  <c:v>158.8371019843101</c:v>
                </c:pt>
                <c:pt idx="1052">
                  <c:v>158.31795108444854</c:v>
                </c:pt>
                <c:pt idx="1053">
                  <c:v>155.89524688509456</c:v>
                </c:pt>
                <c:pt idx="1054">
                  <c:v>155.00692201199814</c:v>
                </c:pt>
                <c:pt idx="1055">
                  <c:v>153.62251961236731</c:v>
                </c:pt>
                <c:pt idx="1056">
                  <c:v>154.66082141209043</c:v>
                </c:pt>
                <c:pt idx="1057">
                  <c:v>154.98384863867096</c:v>
                </c:pt>
                <c:pt idx="1058">
                  <c:v>153.88786340562987</c:v>
                </c:pt>
                <c:pt idx="1059">
                  <c:v>153.10336871250576</c:v>
                </c:pt>
                <c:pt idx="1060">
                  <c:v>151.61513613290259</c:v>
                </c:pt>
                <c:pt idx="1061">
                  <c:v>151.37286571296724</c:v>
                </c:pt>
                <c:pt idx="1062">
                  <c:v>153.31102907245037</c:v>
                </c:pt>
                <c:pt idx="1063">
                  <c:v>152.16889709275497</c:v>
                </c:pt>
                <c:pt idx="1064">
                  <c:v>153.49561605906783</c:v>
                </c:pt>
                <c:pt idx="1065">
                  <c:v>156.16059067835718</c:v>
                </c:pt>
                <c:pt idx="1066">
                  <c:v>156.99123211813568</c:v>
                </c:pt>
                <c:pt idx="1067">
                  <c:v>158.11029072450393</c:v>
                </c:pt>
                <c:pt idx="1068">
                  <c:v>158.51407475772959</c:v>
                </c:pt>
                <c:pt idx="1069">
                  <c:v>160.20996769727734</c:v>
                </c:pt>
                <c:pt idx="1070">
                  <c:v>159.94462390401475</c:v>
                </c:pt>
                <c:pt idx="1071">
                  <c:v>160.4983848638671</c:v>
                </c:pt>
                <c:pt idx="1072">
                  <c:v>159.31010613751729</c:v>
                </c:pt>
                <c:pt idx="1073">
                  <c:v>160.19843101061375</c:v>
                </c:pt>
                <c:pt idx="1074">
                  <c:v>159.87540378403321</c:v>
                </c:pt>
                <c:pt idx="1075">
                  <c:v>161.06368251038302</c:v>
                </c:pt>
                <c:pt idx="1076">
                  <c:v>161.23673281033686</c:v>
                </c:pt>
                <c:pt idx="1077">
                  <c:v>160.57914167051223</c:v>
                </c:pt>
                <c:pt idx="1078">
                  <c:v>161.34056299030917</c:v>
                </c:pt>
                <c:pt idx="1079">
                  <c:v>161.72127365020765</c:v>
                </c:pt>
                <c:pt idx="1080">
                  <c:v>161.97508075680665</c:v>
                </c:pt>
                <c:pt idx="1081">
                  <c:v>163.64790032302722</c:v>
                </c:pt>
                <c:pt idx="1082">
                  <c:v>163.39409321642822</c:v>
                </c:pt>
                <c:pt idx="1083">
                  <c:v>164.2824180895247</c:v>
                </c:pt>
                <c:pt idx="1084">
                  <c:v>164.13244116289803</c:v>
                </c:pt>
                <c:pt idx="1085">
                  <c:v>164.25934471619749</c:v>
                </c:pt>
                <c:pt idx="1086">
                  <c:v>164.43239501615133</c:v>
                </c:pt>
                <c:pt idx="1087">
                  <c:v>162.77111213659435</c:v>
                </c:pt>
                <c:pt idx="1088">
                  <c:v>158.89478541762801</c:v>
                </c:pt>
                <c:pt idx="1089">
                  <c:v>157.55652976465157</c:v>
                </c:pt>
                <c:pt idx="1090">
                  <c:v>158.62944162436548</c:v>
                </c:pt>
                <c:pt idx="1091">
                  <c:v>157.79880018458698</c:v>
                </c:pt>
                <c:pt idx="1092">
                  <c:v>158.26026765113059</c:v>
                </c:pt>
                <c:pt idx="1093">
                  <c:v>157.86802030456852</c:v>
                </c:pt>
                <c:pt idx="1094">
                  <c:v>155.75680664513149</c:v>
                </c:pt>
                <c:pt idx="1095">
                  <c:v>155.45685279187816</c:v>
                </c:pt>
                <c:pt idx="1096">
                  <c:v>155.69912321181357</c:v>
                </c:pt>
                <c:pt idx="1097">
                  <c:v>158.01799723119518</c:v>
                </c:pt>
                <c:pt idx="1098">
                  <c:v>159.14859252422701</c:v>
                </c:pt>
                <c:pt idx="1099">
                  <c:v>159.25242270419932</c:v>
                </c:pt>
                <c:pt idx="1100">
                  <c:v>161.31748961698202</c:v>
                </c:pt>
                <c:pt idx="1101">
                  <c:v>162.59806183664048</c:v>
                </c:pt>
                <c:pt idx="1102">
                  <c:v>162.34425473004151</c:v>
                </c:pt>
                <c:pt idx="1103">
                  <c:v>163.24411628980155</c:v>
                </c:pt>
                <c:pt idx="1104">
                  <c:v>163.85556068297186</c:v>
                </c:pt>
                <c:pt idx="1105">
                  <c:v>163.86709736963542</c:v>
                </c:pt>
                <c:pt idx="1106">
                  <c:v>164.14397784956159</c:v>
                </c:pt>
                <c:pt idx="1107">
                  <c:v>164.07475772958006</c:v>
                </c:pt>
                <c:pt idx="1108">
                  <c:v>164.70927549607751</c:v>
                </c:pt>
                <c:pt idx="1109">
                  <c:v>165.73604060913704</c:v>
                </c:pt>
                <c:pt idx="1110">
                  <c:v>165.85140747577293</c:v>
                </c:pt>
                <c:pt idx="1111">
                  <c:v>165.5283802491924</c:v>
                </c:pt>
                <c:pt idx="1112">
                  <c:v>165.41301338255653</c:v>
                </c:pt>
                <c:pt idx="1113">
                  <c:v>165.81679741578216</c:v>
                </c:pt>
                <c:pt idx="1114">
                  <c:v>162.05583756345177</c:v>
                </c:pt>
                <c:pt idx="1115">
                  <c:v>165.38994000922935</c:v>
                </c:pt>
                <c:pt idx="1116">
                  <c:v>165.41301338255653</c:v>
                </c:pt>
                <c:pt idx="1117">
                  <c:v>165.63221042916473</c:v>
                </c:pt>
                <c:pt idx="1118">
                  <c:v>163.56714351638209</c:v>
                </c:pt>
                <c:pt idx="1119">
                  <c:v>162.74803876326717</c:v>
                </c:pt>
                <c:pt idx="1120">
                  <c:v>162.79418550992156</c:v>
                </c:pt>
                <c:pt idx="1121">
                  <c:v>161.20212275034606</c:v>
                </c:pt>
                <c:pt idx="1122">
                  <c:v>159.50622981079832</c:v>
                </c:pt>
                <c:pt idx="1123">
                  <c:v>158.38717120443008</c:v>
                </c:pt>
                <c:pt idx="1124">
                  <c:v>160.16382095062298</c:v>
                </c:pt>
                <c:pt idx="1125">
                  <c:v>161.20212275034606</c:v>
                </c:pt>
                <c:pt idx="1126">
                  <c:v>161.07521919704658</c:v>
                </c:pt>
                <c:pt idx="1127">
                  <c:v>161.12136594370094</c:v>
                </c:pt>
                <c:pt idx="1128">
                  <c:v>161.31748961698202</c:v>
                </c:pt>
                <c:pt idx="1129">
                  <c:v>159.63313336409783</c:v>
                </c:pt>
                <c:pt idx="1130">
                  <c:v>161.68666359021688</c:v>
                </c:pt>
                <c:pt idx="1131">
                  <c:v>162.88647900323025</c:v>
                </c:pt>
                <c:pt idx="1132">
                  <c:v>163.15182279649284</c:v>
                </c:pt>
                <c:pt idx="1133">
                  <c:v>164.31702814951547</c:v>
                </c:pt>
                <c:pt idx="1134">
                  <c:v>164.61698200276879</c:v>
                </c:pt>
                <c:pt idx="1135">
                  <c:v>165.63221042916473</c:v>
                </c:pt>
                <c:pt idx="1136">
                  <c:v>165.94370096908168</c:v>
                </c:pt>
                <c:pt idx="1137">
                  <c:v>166.1398246423627</c:v>
                </c:pt>
                <c:pt idx="1138">
                  <c:v>167.14351638209504</c:v>
                </c:pt>
                <c:pt idx="1139">
                  <c:v>165.08998615597599</c:v>
                </c:pt>
                <c:pt idx="1140">
                  <c:v>164.55929856945082</c:v>
                </c:pt>
                <c:pt idx="1141">
                  <c:v>165.25149976926627</c:v>
                </c:pt>
                <c:pt idx="1142">
                  <c:v>164.44393170281492</c:v>
                </c:pt>
                <c:pt idx="1143">
                  <c:v>162.17120443008767</c:v>
                </c:pt>
                <c:pt idx="1144">
                  <c:v>162.89801568989384</c:v>
                </c:pt>
                <c:pt idx="1145">
                  <c:v>161.34056299030917</c:v>
                </c:pt>
                <c:pt idx="1146">
                  <c:v>163.45177664974619</c:v>
                </c:pt>
                <c:pt idx="1147">
                  <c:v>164.2824180895247</c:v>
                </c:pt>
                <c:pt idx="1148">
                  <c:v>166.58975542224272</c:v>
                </c:pt>
                <c:pt idx="1149">
                  <c:v>165.67835717581912</c:v>
                </c:pt>
                <c:pt idx="1150">
                  <c:v>166.243654822335</c:v>
                </c:pt>
                <c:pt idx="1151">
                  <c:v>165.00922934933087</c:v>
                </c:pt>
                <c:pt idx="1152">
                  <c:v>165.34379326257499</c:v>
                </c:pt>
                <c:pt idx="1153">
                  <c:v>167.33964005537609</c:v>
                </c:pt>
                <c:pt idx="1154">
                  <c:v>167.39732348869404</c:v>
                </c:pt>
                <c:pt idx="1155">
                  <c:v>167.6972773419474</c:v>
                </c:pt>
                <c:pt idx="1156">
                  <c:v>167.47808029533914</c:v>
                </c:pt>
                <c:pt idx="1157">
                  <c:v>167.20119981541302</c:v>
                </c:pt>
                <c:pt idx="1158">
                  <c:v>166.78587909552374</c:v>
                </c:pt>
                <c:pt idx="1159">
                  <c:v>166.92431933548684</c:v>
                </c:pt>
                <c:pt idx="1160">
                  <c:v>168.78172588832487</c:v>
                </c:pt>
                <c:pt idx="1161">
                  <c:v>168.30872173511764</c:v>
                </c:pt>
                <c:pt idx="1162">
                  <c:v>169.6585140747577</c:v>
                </c:pt>
                <c:pt idx="1163">
                  <c:v>170.14305491462849</c:v>
                </c:pt>
                <c:pt idx="1164">
                  <c:v>170.16612828795567</c:v>
                </c:pt>
                <c:pt idx="1165">
                  <c:v>168.66635902168895</c:v>
                </c:pt>
                <c:pt idx="1166">
                  <c:v>169.01245962159666</c:v>
                </c:pt>
                <c:pt idx="1167">
                  <c:v>168.89709275496077</c:v>
                </c:pt>
                <c:pt idx="1168">
                  <c:v>168.85094600830641</c:v>
                </c:pt>
                <c:pt idx="1169">
                  <c:v>169.92385786802029</c:v>
                </c:pt>
                <c:pt idx="1170">
                  <c:v>170.29303184125519</c:v>
                </c:pt>
                <c:pt idx="1171">
                  <c:v>170.70835256114444</c:v>
                </c:pt>
                <c:pt idx="1172">
                  <c:v>171.68897092754958</c:v>
                </c:pt>
                <c:pt idx="1173">
                  <c:v>172.10429164743886</c:v>
                </c:pt>
                <c:pt idx="1174">
                  <c:v>172.06968158744809</c:v>
                </c:pt>
                <c:pt idx="1175">
                  <c:v>172.19658514074757</c:v>
                </c:pt>
                <c:pt idx="1176">
                  <c:v>172.06968158744809</c:v>
                </c:pt>
                <c:pt idx="1177">
                  <c:v>172.56575911398247</c:v>
                </c:pt>
                <c:pt idx="1178">
                  <c:v>171.7697277341947</c:v>
                </c:pt>
                <c:pt idx="1179">
                  <c:v>171.86202122750345</c:v>
                </c:pt>
                <c:pt idx="1180">
                  <c:v>172.57729580064606</c:v>
                </c:pt>
                <c:pt idx="1181">
                  <c:v>173.73096446700507</c:v>
                </c:pt>
                <c:pt idx="1182">
                  <c:v>174.3885556068297</c:v>
                </c:pt>
                <c:pt idx="1183">
                  <c:v>174.95385325334561</c:v>
                </c:pt>
                <c:pt idx="1184">
                  <c:v>174.04245500692201</c:v>
                </c:pt>
                <c:pt idx="1185">
                  <c:v>174.08860175357637</c:v>
                </c:pt>
                <c:pt idx="1186">
                  <c:v>173.70789109367789</c:v>
                </c:pt>
                <c:pt idx="1187">
                  <c:v>172.93493308721736</c:v>
                </c:pt>
                <c:pt idx="1188">
                  <c:v>173.38486386709735</c:v>
                </c:pt>
                <c:pt idx="1189">
                  <c:v>173.28103368712505</c:v>
                </c:pt>
                <c:pt idx="1190">
                  <c:v>174.3077988001846</c:v>
                </c:pt>
                <c:pt idx="1191">
                  <c:v>174.2731887401938</c:v>
                </c:pt>
                <c:pt idx="1192">
                  <c:v>173.40793724042453</c:v>
                </c:pt>
                <c:pt idx="1193">
                  <c:v>173.03876326718967</c:v>
                </c:pt>
                <c:pt idx="1194">
                  <c:v>171.26211352099673</c:v>
                </c:pt>
                <c:pt idx="1195">
                  <c:v>171.21596677434238</c:v>
                </c:pt>
                <c:pt idx="1196">
                  <c:v>171.28518689432391</c:v>
                </c:pt>
                <c:pt idx="1197">
                  <c:v>171.23904014766958</c:v>
                </c:pt>
                <c:pt idx="1198">
                  <c:v>172.77341947392705</c:v>
                </c:pt>
                <c:pt idx="1199">
                  <c:v>173.18874019381633</c:v>
                </c:pt>
                <c:pt idx="1200">
                  <c:v>174.83848638670975</c:v>
                </c:pt>
                <c:pt idx="1201">
                  <c:v>174.35394554683893</c:v>
                </c:pt>
                <c:pt idx="1202">
                  <c:v>172.77341947392705</c:v>
                </c:pt>
                <c:pt idx="1203">
                  <c:v>170.36225196123672</c:v>
                </c:pt>
                <c:pt idx="1204">
                  <c:v>170.36225196123672</c:v>
                </c:pt>
                <c:pt idx="1205">
                  <c:v>168.57406552838023</c:v>
                </c:pt>
                <c:pt idx="1206">
                  <c:v>168.83940932164282</c:v>
                </c:pt>
                <c:pt idx="1207">
                  <c:v>170.2814951545916</c:v>
                </c:pt>
                <c:pt idx="1208">
                  <c:v>169.63544070143053</c:v>
                </c:pt>
                <c:pt idx="1209">
                  <c:v>171.93124134748498</c:v>
                </c:pt>
                <c:pt idx="1210">
                  <c:v>170.31610521458236</c:v>
                </c:pt>
                <c:pt idx="1211">
                  <c:v>170.2814951545916</c:v>
                </c:pt>
                <c:pt idx="1212">
                  <c:v>169.4162436548223</c:v>
                </c:pt>
                <c:pt idx="1213">
                  <c:v>171.66589755422243</c:v>
                </c:pt>
                <c:pt idx="1214">
                  <c:v>171.89663128749422</c:v>
                </c:pt>
                <c:pt idx="1215">
                  <c:v>172.63497923396397</c:v>
                </c:pt>
                <c:pt idx="1216">
                  <c:v>171.44670050761422</c:v>
                </c:pt>
                <c:pt idx="1217">
                  <c:v>171.13520996769728</c:v>
                </c:pt>
                <c:pt idx="1218">
                  <c:v>171.60821412090445</c:v>
                </c:pt>
                <c:pt idx="1219">
                  <c:v>170.69681587448085</c:v>
                </c:pt>
                <c:pt idx="1220">
                  <c:v>168.45869866174434</c:v>
                </c:pt>
                <c:pt idx="1221">
                  <c:v>166.41670512228885</c:v>
                </c:pt>
                <c:pt idx="1222">
                  <c:v>166.03599446239036</c:v>
                </c:pt>
                <c:pt idx="1223">
                  <c:v>166.50899861559759</c:v>
                </c:pt>
                <c:pt idx="1224">
                  <c:v>165.18227964928471</c:v>
                </c:pt>
                <c:pt idx="1225">
                  <c:v>164.07475772958006</c:v>
                </c:pt>
                <c:pt idx="1226">
                  <c:v>163.03645592985691</c:v>
                </c:pt>
                <c:pt idx="1227">
                  <c:v>165.27457314259343</c:v>
                </c:pt>
                <c:pt idx="1228">
                  <c:v>164.96308260267651</c:v>
                </c:pt>
                <c:pt idx="1229">
                  <c:v>165.7706506691278</c:v>
                </c:pt>
                <c:pt idx="1230">
                  <c:v>166.27826488232577</c:v>
                </c:pt>
                <c:pt idx="1231">
                  <c:v>165.62067374250114</c:v>
                </c:pt>
                <c:pt idx="1232">
                  <c:v>167.57037378864788</c:v>
                </c:pt>
                <c:pt idx="1233">
                  <c:v>168.51638209506228</c:v>
                </c:pt>
                <c:pt idx="1234">
                  <c:v>168.50484540839869</c:v>
                </c:pt>
                <c:pt idx="1235">
                  <c:v>169.62390401476694</c:v>
                </c:pt>
                <c:pt idx="1236">
                  <c:v>169.24319335486845</c:v>
                </c:pt>
                <c:pt idx="1237">
                  <c:v>171.11213659437007</c:v>
                </c:pt>
                <c:pt idx="1238">
                  <c:v>172.36963544070142</c:v>
                </c:pt>
                <c:pt idx="1239">
                  <c:v>172.56575911398247</c:v>
                </c:pt>
                <c:pt idx="1240">
                  <c:v>171.42362713428702</c:v>
                </c:pt>
                <c:pt idx="1241">
                  <c:v>171.90816797415781</c:v>
                </c:pt>
                <c:pt idx="1242">
                  <c:v>172.33502538071065</c:v>
                </c:pt>
                <c:pt idx="1243">
                  <c:v>172.2773419473927</c:v>
                </c:pt>
                <c:pt idx="1244">
                  <c:v>173.4425473004153</c:v>
                </c:pt>
                <c:pt idx="1245">
                  <c:v>175.41532071988925</c:v>
                </c:pt>
              </c:numCache>
            </c:numRef>
          </c:val>
          <c:smooth val="0"/>
        </c:ser>
        <c:ser>
          <c:idx val="2"/>
          <c:order val="2"/>
          <c:tx>
            <c:strRef>
              <c:f>Sheet1!$D$1</c:f>
              <c:strCache>
                <c:ptCount val="1"/>
              </c:strCache>
            </c:strRef>
          </c:tx>
          <c:spPr>
            <a:ln w="12700">
              <a:solidFill>
                <a:srgbClr val="665C8C"/>
              </a:solidFill>
            </a:ln>
          </c:spPr>
          <c:marker>
            <c:symbol val="none"/>
          </c:marker>
          <c:cat>
            <c:numRef>
              <c:f>Sheet1!$A$2:$A$1247</c:f>
              <c:numCache>
                <c:formatCode>m/d/yyyy</c:formatCode>
                <c:ptCount val="1246"/>
                <c:pt idx="0">
                  <c:v>40116</c:v>
                </c:pt>
                <c:pt idx="1">
                  <c:v>40119</c:v>
                </c:pt>
                <c:pt idx="2">
                  <c:v>40120</c:v>
                </c:pt>
                <c:pt idx="3">
                  <c:v>40121</c:v>
                </c:pt>
                <c:pt idx="4">
                  <c:v>40122</c:v>
                </c:pt>
                <c:pt idx="5">
                  <c:v>40123</c:v>
                </c:pt>
                <c:pt idx="6">
                  <c:v>40126</c:v>
                </c:pt>
                <c:pt idx="7">
                  <c:v>40127</c:v>
                </c:pt>
                <c:pt idx="8">
                  <c:v>40128</c:v>
                </c:pt>
                <c:pt idx="9">
                  <c:v>40129</c:v>
                </c:pt>
                <c:pt idx="10">
                  <c:v>40130</c:v>
                </c:pt>
                <c:pt idx="11">
                  <c:v>40133</c:v>
                </c:pt>
                <c:pt idx="12">
                  <c:v>40134</c:v>
                </c:pt>
                <c:pt idx="13">
                  <c:v>40135</c:v>
                </c:pt>
                <c:pt idx="14">
                  <c:v>40136</c:v>
                </c:pt>
                <c:pt idx="15">
                  <c:v>40137</c:v>
                </c:pt>
                <c:pt idx="16">
                  <c:v>40140</c:v>
                </c:pt>
                <c:pt idx="17">
                  <c:v>40141</c:v>
                </c:pt>
                <c:pt idx="18">
                  <c:v>40142</c:v>
                </c:pt>
                <c:pt idx="19">
                  <c:v>40143</c:v>
                </c:pt>
                <c:pt idx="20">
                  <c:v>40144</c:v>
                </c:pt>
                <c:pt idx="21">
                  <c:v>40147</c:v>
                </c:pt>
                <c:pt idx="22">
                  <c:v>40148</c:v>
                </c:pt>
                <c:pt idx="23">
                  <c:v>40149</c:v>
                </c:pt>
                <c:pt idx="24">
                  <c:v>40150</c:v>
                </c:pt>
                <c:pt idx="25">
                  <c:v>40151</c:v>
                </c:pt>
                <c:pt idx="26">
                  <c:v>40154</c:v>
                </c:pt>
                <c:pt idx="27">
                  <c:v>40155</c:v>
                </c:pt>
                <c:pt idx="28">
                  <c:v>40156</c:v>
                </c:pt>
                <c:pt idx="29">
                  <c:v>40157</c:v>
                </c:pt>
                <c:pt idx="30">
                  <c:v>40158</c:v>
                </c:pt>
                <c:pt idx="31">
                  <c:v>40161</c:v>
                </c:pt>
                <c:pt idx="32">
                  <c:v>40162</c:v>
                </c:pt>
                <c:pt idx="33">
                  <c:v>40163</c:v>
                </c:pt>
                <c:pt idx="34">
                  <c:v>40164</c:v>
                </c:pt>
                <c:pt idx="35">
                  <c:v>40165</c:v>
                </c:pt>
                <c:pt idx="36">
                  <c:v>40168</c:v>
                </c:pt>
                <c:pt idx="37">
                  <c:v>40169</c:v>
                </c:pt>
                <c:pt idx="38">
                  <c:v>40170</c:v>
                </c:pt>
                <c:pt idx="39">
                  <c:v>40171</c:v>
                </c:pt>
                <c:pt idx="40">
                  <c:v>40175</c:v>
                </c:pt>
                <c:pt idx="41">
                  <c:v>40176</c:v>
                </c:pt>
                <c:pt idx="42">
                  <c:v>40177</c:v>
                </c:pt>
                <c:pt idx="43">
                  <c:v>40178</c:v>
                </c:pt>
                <c:pt idx="44">
                  <c:v>40182</c:v>
                </c:pt>
                <c:pt idx="45">
                  <c:v>40183</c:v>
                </c:pt>
                <c:pt idx="46">
                  <c:v>40184</c:v>
                </c:pt>
                <c:pt idx="47">
                  <c:v>40185</c:v>
                </c:pt>
                <c:pt idx="48">
                  <c:v>40186</c:v>
                </c:pt>
                <c:pt idx="49">
                  <c:v>40189</c:v>
                </c:pt>
                <c:pt idx="50">
                  <c:v>40190</c:v>
                </c:pt>
                <c:pt idx="51">
                  <c:v>40191</c:v>
                </c:pt>
                <c:pt idx="52">
                  <c:v>40192</c:v>
                </c:pt>
                <c:pt idx="53">
                  <c:v>40193</c:v>
                </c:pt>
                <c:pt idx="54">
                  <c:v>40196</c:v>
                </c:pt>
                <c:pt idx="55">
                  <c:v>40197</c:v>
                </c:pt>
                <c:pt idx="56">
                  <c:v>40198</c:v>
                </c:pt>
                <c:pt idx="57">
                  <c:v>40199</c:v>
                </c:pt>
                <c:pt idx="58">
                  <c:v>40200</c:v>
                </c:pt>
                <c:pt idx="59">
                  <c:v>40203</c:v>
                </c:pt>
                <c:pt idx="60">
                  <c:v>40204</c:v>
                </c:pt>
                <c:pt idx="61">
                  <c:v>40205</c:v>
                </c:pt>
                <c:pt idx="62">
                  <c:v>40206</c:v>
                </c:pt>
                <c:pt idx="63">
                  <c:v>40207</c:v>
                </c:pt>
                <c:pt idx="64">
                  <c:v>40210</c:v>
                </c:pt>
                <c:pt idx="65">
                  <c:v>40211</c:v>
                </c:pt>
                <c:pt idx="66">
                  <c:v>40212</c:v>
                </c:pt>
                <c:pt idx="67">
                  <c:v>40213</c:v>
                </c:pt>
                <c:pt idx="68">
                  <c:v>40214</c:v>
                </c:pt>
                <c:pt idx="69">
                  <c:v>40217</c:v>
                </c:pt>
                <c:pt idx="70">
                  <c:v>40218</c:v>
                </c:pt>
                <c:pt idx="71">
                  <c:v>40219</c:v>
                </c:pt>
                <c:pt idx="72">
                  <c:v>40220</c:v>
                </c:pt>
                <c:pt idx="73">
                  <c:v>40221</c:v>
                </c:pt>
                <c:pt idx="74">
                  <c:v>40224</c:v>
                </c:pt>
                <c:pt idx="75">
                  <c:v>40225</c:v>
                </c:pt>
                <c:pt idx="76">
                  <c:v>40226</c:v>
                </c:pt>
                <c:pt idx="77">
                  <c:v>40227</c:v>
                </c:pt>
                <c:pt idx="78">
                  <c:v>40228</c:v>
                </c:pt>
                <c:pt idx="79">
                  <c:v>40231</c:v>
                </c:pt>
                <c:pt idx="80">
                  <c:v>40232</c:v>
                </c:pt>
                <c:pt idx="81">
                  <c:v>40233</c:v>
                </c:pt>
                <c:pt idx="82">
                  <c:v>40234</c:v>
                </c:pt>
                <c:pt idx="83">
                  <c:v>40235</c:v>
                </c:pt>
                <c:pt idx="84">
                  <c:v>40238</c:v>
                </c:pt>
                <c:pt idx="85">
                  <c:v>40239</c:v>
                </c:pt>
                <c:pt idx="86">
                  <c:v>40240</c:v>
                </c:pt>
                <c:pt idx="87">
                  <c:v>40241</c:v>
                </c:pt>
                <c:pt idx="88">
                  <c:v>40242</c:v>
                </c:pt>
                <c:pt idx="89">
                  <c:v>40245</c:v>
                </c:pt>
                <c:pt idx="90">
                  <c:v>40246</c:v>
                </c:pt>
                <c:pt idx="91">
                  <c:v>40247</c:v>
                </c:pt>
                <c:pt idx="92">
                  <c:v>40248</c:v>
                </c:pt>
                <c:pt idx="93">
                  <c:v>40249</c:v>
                </c:pt>
                <c:pt idx="94">
                  <c:v>40252</c:v>
                </c:pt>
                <c:pt idx="95">
                  <c:v>40253</c:v>
                </c:pt>
                <c:pt idx="96">
                  <c:v>40254</c:v>
                </c:pt>
                <c:pt idx="97">
                  <c:v>40255</c:v>
                </c:pt>
                <c:pt idx="98">
                  <c:v>40256</c:v>
                </c:pt>
                <c:pt idx="99">
                  <c:v>40259</c:v>
                </c:pt>
                <c:pt idx="100">
                  <c:v>40260</c:v>
                </c:pt>
                <c:pt idx="101">
                  <c:v>40261</c:v>
                </c:pt>
                <c:pt idx="102">
                  <c:v>40262</c:v>
                </c:pt>
                <c:pt idx="103">
                  <c:v>40263</c:v>
                </c:pt>
                <c:pt idx="104">
                  <c:v>40266</c:v>
                </c:pt>
                <c:pt idx="105">
                  <c:v>40267</c:v>
                </c:pt>
                <c:pt idx="106">
                  <c:v>40268</c:v>
                </c:pt>
                <c:pt idx="107">
                  <c:v>40269</c:v>
                </c:pt>
                <c:pt idx="108">
                  <c:v>40274</c:v>
                </c:pt>
                <c:pt idx="109">
                  <c:v>40275</c:v>
                </c:pt>
                <c:pt idx="110">
                  <c:v>40276</c:v>
                </c:pt>
                <c:pt idx="111">
                  <c:v>40277</c:v>
                </c:pt>
                <c:pt idx="112">
                  <c:v>40280</c:v>
                </c:pt>
                <c:pt idx="113">
                  <c:v>40281</c:v>
                </c:pt>
                <c:pt idx="114">
                  <c:v>40282</c:v>
                </c:pt>
                <c:pt idx="115">
                  <c:v>40283</c:v>
                </c:pt>
                <c:pt idx="116">
                  <c:v>40284</c:v>
                </c:pt>
                <c:pt idx="117">
                  <c:v>40287</c:v>
                </c:pt>
                <c:pt idx="118">
                  <c:v>40288</c:v>
                </c:pt>
                <c:pt idx="119">
                  <c:v>40289</c:v>
                </c:pt>
                <c:pt idx="120">
                  <c:v>40290</c:v>
                </c:pt>
                <c:pt idx="121">
                  <c:v>40291</c:v>
                </c:pt>
                <c:pt idx="122">
                  <c:v>40294</c:v>
                </c:pt>
                <c:pt idx="123">
                  <c:v>40295</c:v>
                </c:pt>
                <c:pt idx="124">
                  <c:v>40296</c:v>
                </c:pt>
                <c:pt idx="125">
                  <c:v>40297</c:v>
                </c:pt>
                <c:pt idx="126">
                  <c:v>40298</c:v>
                </c:pt>
                <c:pt idx="127">
                  <c:v>40301</c:v>
                </c:pt>
                <c:pt idx="128">
                  <c:v>40302</c:v>
                </c:pt>
                <c:pt idx="129">
                  <c:v>40303</c:v>
                </c:pt>
                <c:pt idx="130">
                  <c:v>40304</c:v>
                </c:pt>
                <c:pt idx="131">
                  <c:v>40305</c:v>
                </c:pt>
                <c:pt idx="132">
                  <c:v>40308</c:v>
                </c:pt>
                <c:pt idx="133">
                  <c:v>40309</c:v>
                </c:pt>
                <c:pt idx="134">
                  <c:v>40310</c:v>
                </c:pt>
                <c:pt idx="135">
                  <c:v>40311</c:v>
                </c:pt>
                <c:pt idx="136">
                  <c:v>40312</c:v>
                </c:pt>
                <c:pt idx="137">
                  <c:v>40315</c:v>
                </c:pt>
                <c:pt idx="138">
                  <c:v>40316</c:v>
                </c:pt>
                <c:pt idx="139">
                  <c:v>40317</c:v>
                </c:pt>
                <c:pt idx="140">
                  <c:v>40318</c:v>
                </c:pt>
                <c:pt idx="141">
                  <c:v>40319</c:v>
                </c:pt>
                <c:pt idx="142">
                  <c:v>40322</c:v>
                </c:pt>
                <c:pt idx="143">
                  <c:v>40323</c:v>
                </c:pt>
                <c:pt idx="144">
                  <c:v>40324</c:v>
                </c:pt>
                <c:pt idx="145">
                  <c:v>40325</c:v>
                </c:pt>
                <c:pt idx="146">
                  <c:v>40326</c:v>
                </c:pt>
                <c:pt idx="147">
                  <c:v>40329</c:v>
                </c:pt>
                <c:pt idx="148">
                  <c:v>40330</c:v>
                </c:pt>
                <c:pt idx="149">
                  <c:v>40331</c:v>
                </c:pt>
                <c:pt idx="150">
                  <c:v>40332</c:v>
                </c:pt>
                <c:pt idx="151">
                  <c:v>40333</c:v>
                </c:pt>
                <c:pt idx="152">
                  <c:v>40336</c:v>
                </c:pt>
                <c:pt idx="153">
                  <c:v>40337</c:v>
                </c:pt>
                <c:pt idx="154">
                  <c:v>40338</c:v>
                </c:pt>
                <c:pt idx="155">
                  <c:v>40339</c:v>
                </c:pt>
                <c:pt idx="156">
                  <c:v>40340</c:v>
                </c:pt>
                <c:pt idx="157">
                  <c:v>40343</c:v>
                </c:pt>
                <c:pt idx="158">
                  <c:v>40344</c:v>
                </c:pt>
                <c:pt idx="159">
                  <c:v>40345</c:v>
                </c:pt>
                <c:pt idx="160">
                  <c:v>40346</c:v>
                </c:pt>
                <c:pt idx="161">
                  <c:v>40347</c:v>
                </c:pt>
                <c:pt idx="162">
                  <c:v>40350</c:v>
                </c:pt>
                <c:pt idx="163">
                  <c:v>40351</c:v>
                </c:pt>
                <c:pt idx="164">
                  <c:v>40352</c:v>
                </c:pt>
                <c:pt idx="165">
                  <c:v>40353</c:v>
                </c:pt>
                <c:pt idx="166">
                  <c:v>40354</c:v>
                </c:pt>
                <c:pt idx="167">
                  <c:v>40357</c:v>
                </c:pt>
                <c:pt idx="168">
                  <c:v>40358</c:v>
                </c:pt>
                <c:pt idx="169">
                  <c:v>40359</c:v>
                </c:pt>
                <c:pt idx="170">
                  <c:v>40360</c:v>
                </c:pt>
                <c:pt idx="171">
                  <c:v>40361</c:v>
                </c:pt>
                <c:pt idx="172">
                  <c:v>40364</c:v>
                </c:pt>
                <c:pt idx="173">
                  <c:v>40365</c:v>
                </c:pt>
                <c:pt idx="174">
                  <c:v>40366</c:v>
                </c:pt>
                <c:pt idx="175">
                  <c:v>40367</c:v>
                </c:pt>
                <c:pt idx="176">
                  <c:v>40368</c:v>
                </c:pt>
                <c:pt idx="177">
                  <c:v>40371</c:v>
                </c:pt>
                <c:pt idx="178">
                  <c:v>40372</c:v>
                </c:pt>
                <c:pt idx="179">
                  <c:v>40373</c:v>
                </c:pt>
                <c:pt idx="180">
                  <c:v>40374</c:v>
                </c:pt>
                <c:pt idx="181">
                  <c:v>40375</c:v>
                </c:pt>
                <c:pt idx="182">
                  <c:v>40378</c:v>
                </c:pt>
                <c:pt idx="183">
                  <c:v>40379</c:v>
                </c:pt>
                <c:pt idx="184">
                  <c:v>40380</c:v>
                </c:pt>
                <c:pt idx="185">
                  <c:v>40381</c:v>
                </c:pt>
                <c:pt idx="186">
                  <c:v>40382</c:v>
                </c:pt>
                <c:pt idx="187">
                  <c:v>40385</c:v>
                </c:pt>
                <c:pt idx="188">
                  <c:v>40386</c:v>
                </c:pt>
                <c:pt idx="189">
                  <c:v>40387</c:v>
                </c:pt>
                <c:pt idx="190">
                  <c:v>40388</c:v>
                </c:pt>
                <c:pt idx="191">
                  <c:v>40389</c:v>
                </c:pt>
                <c:pt idx="192">
                  <c:v>40392</c:v>
                </c:pt>
                <c:pt idx="193">
                  <c:v>40393</c:v>
                </c:pt>
                <c:pt idx="194">
                  <c:v>40394</c:v>
                </c:pt>
                <c:pt idx="195">
                  <c:v>40395</c:v>
                </c:pt>
                <c:pt idx="196">
                  <c:v>40396</c:v>
                </c:pt>
                <c:pt idx="197">
                  <c:v>40399</c:v>
                </c:pt>
                <c:pt idx="198">
                  <c:v>40400</c:v>
                </c:pt>
                <c:pt idx="199">
                  <c:v>40401</c:v>
                </c:pt>
                <c:pt idx="200">
                  <c:v>40402</c:v>
                </c:pt>
                <c:pt idx="201">
                  <c:v>40403</c:v>
                </c:pt>
                <c:pt idx="202">
                  <c:v>40406</c:v>
                </c:pt>
                <c:pt idx="203">
                  <c:v>40407</c:v>
                </c:pt>
                <c:pt idx="204">
                  <c:v>40408</c:v>
                </c:pt>
                <c:pt idx="205">
                  <c:v>40409</c:v>
                </c:pt>
                <c:pt idx="206">
                  <c:v>40410</c:v>
                </c:pt>
                <c:pt idx="207">
                  <c:v>40413</c:v>
                </c:pt>
                <c:pt idx="208">
                  <c:v>40414</c:v>
                </c:pt>
                <c:pt idx="209">
                  <c:v>40415</c:v>
                </c:pt>
                <c:pt idx="210">
                  <c:v>40416</c:v>
                </c:pt>
                <c:pt idx="211">
                  <c:v>40417</c:v>
                </c:pt>
                <c:pt idx="212">
                  <c:v>40420</c:v>
                </c:pt>
                <c:pt idx="213">
                  <c:v>40421</c:v>
                </c:pt>
                <c:pt idx="214">
                  <c:v>40422</c:v>
                </c:pt>
                <c:pt idx="215">
                  <c:v>40423</c:v>
                </c:pt>
                <c:pt idx="216">
                  <c:v>40424</c:v>
                </c:pt>
                <c:pt idx="217">
                  <c:v>40427</c:v>
                </c:pt>
                <c:pt idx="218">
                  <c:v>40428</c:v>
                </c:pt>
                <c:pt idx="219">
                  <c:v>40429</c:v>
                </c:pt>
                <c:pt idx="220">
                  <c:v>40430</c:v>
                </c:pt>
                <c:pt idx="221">
                  <c:v>40431</c:v>
                </c:pt>
                <c:pt idx="222">
                  <c:v>40434</c:v>
                </c:pt>
                <c:pt idx="223">
                  <c:v>40435</c:v>
                </c:pt>
                <c:pt idx="224">
                  <c:v>40436</c:v>
                </c:pt>
                <c:pt idx="225">
                  <c:v>40437</c:v>
                </c:pt>
                <c:pt idx="226">
                  <c:v>40438</c:v>
                </c:pt>
                <c:pt idx="227">
                  <c:v>40441</c:v>
                </c:pt>
                <c:pt idx="228">
                  <c:v>40442</c:v>
                </c:pt>
                <c:pt idx="229">
                  <c:v>40443</c:v>
                </c:pt>
                <c:pt idx="230">
                  <c:v>40444</c:v>
                </c:pt>
                <c:pt idx="231">
                  <c:v>40445</c:v>
                </c:pt>
                <c:pt idx="232">
                  <c:v>40448</c:v>
                </c:pt>
                <c:pt idx="233">
                  <c:v>40449</c:v>
                </c:pt>
                <c:pt idx="234">
                  <c:v>40450</c:v>
                </c:pt>
                <c:pt idx="235">
                  <c:v>40451</c:v>
                </c:pt>
                <c:pt idx="236">
                  <c:v>40452</c:v>
                </c:pt>
                <c:pt idx="237">
                  <c:v>40455</c:v>
                </c:pt>
                <c:pt idx="238">
                  <c:v>40456</c:v>
                </c:pt>
                <c:pt idx="239">
                  <c:v>40457</c:v>
                </c:pt>
                <c:pt idx="240">
                  <c:v>40458</c:v>
                </c:pt>
                <c:pt idx="241">
                  <c:v>40459</c:v>
                </c:pt>
                <c:pt idx="242">
                  <c:v>40462</c:v>
                </c:pt>
                <c:pt idx="243">
                  <c:v>40463</c:v>
                </c:pt>
                <c:pt idx="244">
                  <c:v>40464</c:v>
                </c:pt>
                <c:pt idx="245">
                  <c:v>40465</c:v>
                </c:pt>
                <c:pt idx="246">
                  <c:v>40466</c:v>
                </c:pt>
                <c:pt idx="247">
                  <c:v>40469</c:v>
                </c:pt>
                <c:pt idx="248">
                  <c:v>40470</c:v>
                </c:pt>
                <c:pt idx="249">
                  <c:v>40471</c:v>
                </c:pt>
                <c:pt idx="250">
                  <c:v>40472</c:v>
                </c:pt>
                <c:pt idx="251">
                  <c:v>40473</c:v>
                </c:pt>
                <c:pt idx="252">
                  <c:v>40476</c:v>
                </c:pt>
                <c:pt idx="253">
                  <c:v>40477</c:v>
                </c:pt>
                <c:pt idx="254">
                  <c:v>40478</c:v>
                </c:pt>
                <c:pt idx="255">
                  <c:v>40479</c:v>
                </c:pt>
                <c:pt idx="256">
                  <c:v>40480</c:v>
                </c:pt>
                <c:pt idx="257">
                  <c:v>40483</c:v>
                </c:pt>
                <c:pt idx="258">
                  <c:v>40484</c:v>
                </c:pt>
                <c:pt idx="259">
                  <c:v>40485</c:v>
                </c:pt>
                <c:pt idx="260">
                  <c:v>40486</c:v>
                </c:pt>
                <c:pt idx="261">
                  <c:v>40487</c:v>
                </c:pt>
                <c:pt idx="262">
                  <c:v>40490</c:v>
                </c:pt>
                <c:pt idx="263">
                  <c:v>40491</c:v>
                </c:pt>
                <c:pt idx="264">
                  <c:v>40492</c:v>
                </c:pt>
                <c:pt idx="265">
                  <c:v>40493</c:v>
                </c:pt>
                <c:pt idx="266">
                  <c:v>40494</c:v>
                </c:pt>
                <c:pt idx="267">
                  <c:v>40497</c:v>
                </c:pt>
                <c:pt idx="268">
                  <c:v>40498</c:v>
                </c:pt>
                <c:pt idx="269">
                  <c:v>40499</c:v>
                </c:pt>
                <c:pt idx="270">
                  <c:v>40500</c:v>
                </c:pt>
                <c:pt idx="271">
                  <c:v>40501</c:v>
                </c:pt>
                <c:pt idx="272">
                  <c:v>40504</c:v>
                </c:pt>
                <c:pt idx="273">
                  <c:v>40505</c:v>
                </c:pt>
                <c:pt idx="274">
                  <c:v>40506</c:v>
                </c:pt>
                <c:pt idx="275">
                  <c:v>40507</c:v>
                </c:pt>
                <c:pt idx="276">
                  <c:v>40508</c:v>
                </c:pt>
                <c:pt idx="277">
                  <c:v>40511</c:v>
                </c:pt>
                <c:pt idx="278">
                  <c:v>40512</c:v>
                </c:pt>
                <c:pt idx="279">
                  <c:v>40513</c:v>
                </c:pt>
                <c:pt idx="280">
                  <c:v>40514</c:v>
                </c:pt>
                <c:pt idx="281">
                  <c:v>40515</c:v>
                </c:pt>
                <c:pt idx="282">
                  <c:v>40518</c:v>
                </c:pt>
                <c:pt idx="283">
                  <c:v>40519</c:v>
                </c:pt>
                <c:pt idx="284">
                  <c:v>40520</c:v>
                </c:pt>
                <c:pt idx="285">
                  <c:v>40521</c:v>
                </c:pt>
                <c:pt idx="286">
                  <c:v>40522</c:v>
                </c:pt>
                <c:pt idx="287">
                  <c:v>40525</c:v>
                </c:pt>
                <c:pt idx="288">
                  <c:v>40526</c:v>
                </c:pt>
                <c:pt idx="289">
                  <c:v>40527</c:v>
                </c:pt>
                <c:pt idx="290">
                  <c:v>40528</c:v>
                </c:pt>
                <c:pt idx="291">
                  <c:v>40529</c:v>
                </c:pt>
                <c:pt idx="292">
                  <c:v>40532</c:v>
                </c:pt>
                <c:pt idx="293">
                  <c:v>40533</c:v>
                </c:pt>
                <c:pt idx="294">
                  <c:v>40534</c:v>
                </c:pt>
                <c:pt idx="295">
                  <c:v>40535</c:v>
                </c:pt>
                <c:pt idx="296">
                  <c:v>40536</c:v>
                </c:pt>
                <c:pt idx="297">
                  <c:v>40539</c:v>
                </c:pt>
                <c:pt idx="298">
                  <c:v>40540</c:v>
                </c:pt>
                <c:pt idx="299">
                  <c:v>40541</c:v>
                </c:pt>
                <c:pt idx="300">
                  <c:v>40542</c:v>
                </c:pt>
                <c:pt idx="301">
                  <c:v>40543</c:v>
                </c:pt>
                <c:pt idx="302">
                  <c:v>40546</c:v>
                </c:pt>
                <c:pt idx="303">
                  <c:v>40547</c:v>
                </c:pt>
                <c:pt idx="304">
                  <c:v>40548</c:v>
                </c:pt>
                <c:pt idx="305">
                  <c:v>40549</c:v>
                </c:pt>
                <c:pt idx="306">
                  <c:v>40550</c:v>
                </c:pt>
                <c:pt idx="307">
                  <c:v>40553</c:v>
                </c:pt>
                <c:pt idx="308">
                  <c:v>40554</c:v>
                </c:pt>
                <c:pt idx="309">
                  <c:v>40555</c:v>
                </c:pt>
                <c:pt idx="310">
                  <c:v>40556</c:v>
                </c:pt>
                <c:pt idx="311">
                  <c:v>40557</c:v>
                </c:pt>
                <c:pt idx="312">
                  <c:v>40560</c:v>
                </c:pt>
                <c:pt idx="313">
                  <c:v>40561</c:v>
                </c:pt>
                <c:pt idx="314">
                  <c:v>40562</c:v>
                </c:pt>
                <c:pt idx="315">
                  <c:v>40563</c:v>
                </c:pt>
                <c:pt idx="316">
                  <c:v>40564</c:v>
                </c:pt>
                <c:pt idx="317">
                  <c:v>40567</c:v>
                </c:pt>
                <c:pt idx="318">
                  <c:v>40568</c:v>
                </c:pt>
                <c:pt idx="319">
                  <c:v>40569</c:v>
                </c:pt>
                <c:pt idx="320">
                  <c:v>40570</c:v>
                </c:pt>
                <c:pt idx="321">
                  <c:v>40571</c:v>
                </c:pt>
                <c:pt idx="322">
                  <c:v>40574</c:v>
                </c:pt>
                <c:pt idx="323">
                  <c:v>40575</c:v>
                </c:pt>
                <c:pt idx="324">
                  <c:v>40576</c:v>
                </c:pt>
                <c:pt idx="325">
                  <c:v>40577</c:v>
                </c:pt>
                <c:pt idx="326">
                  <c:v>40578</c:v>
                </c:pt>
                <c:pt idx="327">
                  <c:v>40581</c:v>
                </c:pt>
                <c:pt idx="328">
                  <c:v>40582</c:v>
                </c:pt>
                <c:pt idx="329">
                  <c:v>40583</c:v>
                </c:pt>
                <c:pt idx="330">
                  <c:v>40584</c:v>
                </c:pt>
                <c:pt idx="331">
                  <c:v>40585</c:v>
                </c:pt>
                <c:pt idx="332">
                  <c:v>40588</c:v>
                </c:pt>
                <c:pt idx="333">
                  <c:v>40589</c:v>
                </c:pt>
                <c:pt idx="334">
                  <c:v>40590</c:v>
                </c:pt>
                <c:pt idx="335">
                  <c:v>40591</c:v>
                </c:pt>
                <c:pt idx="336">
                  <c:v>40592</c:v>
                </c:pt>
                <c:pt idx="337">
                  <c:v>40595</c:v>
                </c:pt>
                <c:pt idx="338">
                  <c:v>40596</c:v>
                </c:pt>
                <c:pt idx="339">
                  <c:v>40597</c:v>
                </c:pt>
                <c:pt idx="340">
                  <c:v>40598</c:v>
                </c:pt>
                <c:pt idx="341">
                  <c:v>40599</c:v>
                </c:pt>
                <c:pt idx="342">
                  <c:v>40602</c:v>
                </c:pt>
                <c:pt idx="343">
                  <c:v>40603</c:v>
                </c:pt>
                <c:pt idx="344">
                  <c:v>40604</c:v>
                </c:pt>
                <c:pt idx="345">
                  <c:v>40605</c:v>
                </c:pt>
                <c:pt idx="346">
                  <c:v>40606</c:v>
                </c:pt>
                <c:pt idx="347">
                  <c:v>40609</c:v>
                </c:pt>
                <c:pt idx="348">
                  <c:v>40610</c:v>
                </c:pt>
                <c:pt idx="349">
                  <c:v>40611</c:v>
                </c:pt>
                <c:pt idx="350">
                  <c:v>40612</c:v>
                </c:pt>
                <c:pt idx="351">
                  <c:v>40613</c:v>
                </c:pt>
                <c:pt idx="352">
                  <c:v>40616</c:v>
                </c:pt>
                <c:pt idx="353">
                  <c:v>40617</c:v>
                </c:pt>
                <c:pt idx="354">
                  <c:v>40618</c:v>
                </c:pt>
                <c:pt idx="355">
                  <c:v>40619</c:v>
                </c:pt>
                <c:pt idx="356">
                  <c:v>40620</c:v>
                </c:pt>
                <c:pt idx="357">
                  <c:v>40623</c:v>
                </c:pt>
                <c:pt idx="358">
                  <c:v>40624</c:v>
                </c:pt>
                <c:pt idx="359">
                  <c:v>40625</c:v>
                </c:pt>
                <c:pt idx="360">
                  <c:v>40626</c:v>
                </c:pt>
                <c:pt idx="361">
                  <c:v>40627</c:v>
                </c:pt>
                <c:pt idx="362">
                  <c:v>40630</c:v>
                </c:pt>
                <c:pt idx="363">
                  <c:v>40631</c:v>
                </c:pt>
                <c:pt idx="364">
                  <c:v>40632</c:v>
                </c:pt>
                <c:pt idx="365">
                  <c:v>40633</c:v>
                </c:pt>
                <c:pt idx="366">
                  <c:v>40634</c:v>
                </c:pt>
                <c:pt idx="367">
                  <c:v>40637</c:v>
                </c:pt>
                <c:pt idx="368">
                  <c:v>40638</c:v>
                </c:pt>
                <c:pt idx="369">
                  <c:v>40639</c:v>
                </c:pt>
                <c:pt idx="370">
                  <c:v>40640</c:v>
                </c:pt>
                <c:pt idx="371">
                  <c:v>40641</c:v>
                </c:pt>
                <c:pt idx="372">
                  <c:v>40644</c:v>
                </c:pt>
                <c:pt idx="373">
                  <c:v>40645</c:v>
                </c:pt>
                <c:pt idx="374">
                  <c:v>40646</c:v>
                </c:pt>
                <c:pt idx="375">
                  <c:v>40647</c:v>
                </c:pt>
                <c:pt idx="376">
                  <c:v>40648</c:v>
                </c:pt>
                <c:pt idx="377">
                  <c:v>40651</c:v>
                </c:pt>
                <c:pt idx="378">
                  <c:v>40652</c:v>
                </c:pt>
                <c:pt idx="379">
                  <c:v>40653</c:v>
                </c:pt>
                <c:pt idx="380">
                  <c:v>40654</c:v>
                </c:pt>
                <c:pt idx="381">
                  <c:v>40659</c:v>
                </c:pt>
                <c:pt idx="382">
                  <c:v>40660</c:v>
                </c:pt>
                <c:pt idx="383">
                  <c:v>40661</c:v>
                </c:pt>
                <c:pt idx="384">
                  <c:v>40662</c:v>
                </c:pt>
                <c:pt idx="385">
                  <c:v>40665</c:v>
                </c:pt>
                <c:pt idx="386">
                  <c:v>40666</c:v>
                </c:pt>
                <c:pt idx="387">
                  <c:v>40667</c:v>
                </c:pt>
                <c:pt idx="388">
                  <c:v>40668</c:v>
                </c:pt>
                <c:pt idx="389">
                  <c:v>40669</c:v>
                </c:pt>
                <c:pt idx="390">
                  <c:v>40672</c:v>
                </c:pt>
                <c:pt idx="391">
                  <c:v>40673</c:v>
                </c:pt>
                <c:pt idx="392">
                  <c:v>40674</c:v>
                </c:pt>
                <c:pt idx="393">
                  <c:v>40675</c:v>
                </c:pt>
                <c:pt idx="394">
                  <c:v>40676</c:v>
                </c:pt>
                <c:pt idx="395">
                  <c:v>40679</c:v>
                </c:pt>
                <c:pt idx="396">
                  <c:v>40680</c:v>
                </c:pt>
                <c:pt idx="397">
                  <c:v>40681</c:v>
                </c:pt>
                <c:pt idx="398">
                  <c:v>40682</c:v>
                </c:pt>
                <c:pt idx="399">
                  <c:v>40683</c:v>
                </c:pt>
                <c:pt idx="400">
                  <c:v>40686</c:v>
                </c:pt>
                <c:pt idx="401">
                  <c:v>40687</c:v>
                </c:pt>
                <c:pt idx="402">
                  <c:v>40688</c:v>
                </c:pt>
                <c:pt idx="403">
                  <c:v>40689</c:v>
                </c:pt>
                <c:pt idx="404">
                  <c:v>40690</c:v>
                </c:pt>
                <c:pt idx="405">
                  <c:v>40693</c:v>
                </c:pt>
                <c:pt idx="406">
                  <c:v>40694</c:v>
                </c:pt>
                <c:pt idx="407">
                  <c:v>40695</c:v>
                </c:pt>
                <c:pt idx="408">
                  <c:v>40696</c:v>
                </c:pt>
                <c:pt idx="409">
                  <c:v>40697</c:v>
                </c:pt>
                <c:pt idx="410">
                  <c:v>40700</c:v>
                </c:pt>
                <c:pt idx="411">
                  <c:v>40701</c:v>
                </c:pt>
                <c:pt idx="412">
                  <c:v>40702</c:v>
                </c:pt>
                <c:pt idx="413">
                  <c:v>40703</c:v>
                </c:pt>
                <c:pt idx="414">
                  <c:v>40704</c:v>
                </c:pt>
                <c:pt idx="415">
                  <c:v>40707</c:v>
                </c:pt>
                <c:pt idx="416">
                  <c:v>40708</c:v>
                </c:pt>
                <c:pt idx="417">
                  <c:v>40709</c:v>
                </c:pt>
                <c:pt idx="418">
                  <c:v>40710</c:v>
                </c:pt>
                <c:pt idx="419">
                  <c:v>40711</c:v>
                </c:pt>
                <c:pt idx="420">
                  <c:v>40714</c:v>
                </c:pt>
                <c:pt idx="421">
                  <c:v>40715</c:v>
                </c:pt>
                <c:pt idx="422">
                  <c:v>40716</c:v>
                </c:pt>
                <c:pt idx="423">
                  <c:v>40717</c:v>
                </c:pt>
                <c:pt idx="424">
                  <c:v>40718</c:v>
                </c:pt>
                <c:pt idx="425">
                  <c:v>40721</c:v>
                </c:pt>
                <c:pt idx="426">
                  <c:v>40722</c:v>
                </c:pt>
                <c:pt idx="427">
                  <c:v>40723</c:v>
                </c:pt>
                <c:pt idx="428">
                  <c:v>40724</c:v>
                </c:pt>
                <c:pt idx="429">
                  <c:v>40725</c:v>
                </c:pt>
                <c:pt idx="430">
                  <c:v>40728</c:v>
                </c:pt>
                <c:pt idx="431">
                  <c:v>40729</c:v>
                </c:pt>
                <c:pt idx="432">
                  <c:v>40730</c:v>
                </c:pt>
                <c:pt idx="433">
                  <c:v>40731</c:v>
                </c:pt>
                <c:pt idx="434">
                  <c:v>40732</c:v>
                </c:pt>
                <c:pt idx="435">
                  <c:v>40735</c:v>
                </c:pt>
                <c:pt idx="436">
                  <c:v>40736</c:v>
                </c:pt>
                <c:pt idx="437">
                  <c:v>40737</c:v>
                </c:pt>
                <c:pt idx="438">
                  <c:v>40738</c:v>
                </c:pt>
                <c:pt idx="439">
                  <c:v>40739</c:v>
                </c:pt>
                <c:pt idx="440">
                  <c:v>40742</c:v>
                </c:pt>
                <c:pt idx="441">
                  <c:v>40743</c:v>
                </c:pt>
                <c:pt idx="442">
                  <c:v>40744</c:v>
                </c:pt>
                <c:pt idx="443">
                  <c:v>40745</c:v>
                </c:pt>
                <c:pt idx="444">
                  <c:v>40746</c:v>
                </c:pt>
                <c:pt idx="445">
                  <c:v>40749</c:v>
                </c:pt>
                <c:pt idx="446">
                  <c:v>40750</c:v>
                </c:pt>
                <c:pt idx="447">
                  <c:v>40751</c:v>
                </c:pt>
                <c:pt idx="448">
                  <c:v>40752</c:v>
                </c:pt>
                <c:pt idx="449">
                  <c:v>40753</c:v>
                </c:pt>
                <c:pt idx="450">
                  <c:v>40756</c:v>
                </c:pt>
                <c:pt idx="451">
                  <c:v>40757</c:v>
                </c:pt>
                <c:pt idx="452">
                  <c:v>40758</c:v>
                </c:pt>
                <c:pt idx="453">
                  <c:v>40759</c:v>
                </c:pt>
                <c:pt idx="454">
                  <c:v>40760</c:v>
                </c:pt>
                <c:pt idx="455">
                  <c:v>40763</c:v>
                </c:pt>
                <c:pt idx="456">
                  <c:v>40764</c:v>
                </c:pt>
                <c:pt idx="457">
                  <c:v>40765</c:v>
                </c:pt>
                <c:pt idx="458">
                  <c:v>40766</c:v>
                </c:pt>
                <c:pt idx="459">
                  <c:v>40767</c:v>
                </c:pt>
                <c:pt idx="460">
                  <c:v>40770</c:v>
                </c:pt>
                <c:pt idx="461">
                  <c:v>40771</c:v>
                </c:pt>
                <c:pt idx="462">
                  <c:v>40772</c:v>
                </c:pt>
                <c:pt idx="463">
                  <c:v>40773</c:v>
                </c:pt>
                <c:pt idx="464">
                  <c:v>40774</c:v>
                </c:pt>
                <c:pt idx="465">
                  <c:v>40777</c:v>
                </c:pt>
                <c:pt idx="466">
                  <c:v>40778</c:v>
                </c:pt>
                <c:pt idx="467">
                  <c:v>40779</c:v>
                </c:pt>
                <c:pt idx="468">
                  <c:v>40780</c:v>
                </c:pt>
                <c:pt idx="469">
                  <c:v>40781</c:v>
                </c:pt>
                <c:pt idx="470">
                  <c:v>40784</c:v>
                </c:pt>
                <c:pt idx="471">
                  <c:v>40785</c:v>
                </c:pt>
                <c:pt idx="472">
                  <c:v>40786</c:v>
                </c:pt>
                <c:pt idx="473">
                  <c:v>40787</c:v>
                </c:pt>
                <c:pt idx="474">
                  <c:v>40788</c:v>
                </c:pt>
                <c:pt idx="475">
                  <c:v>40791</c:v>
                </c:pt>
                <c:pt idx="476">
                  <c:v>40792</c:v>
                </c:pt>
                <c:pt idx="477">
                  <c:v>40793</c:v>
                </c:pt>
                <c:pt idx="478">
                  <c:v>40794</c:v>
                </c:pt>
                <c:pt idx="479">
                  <c:v>40795</c:v>
                </c:pt>
                <c:pt idx="480">
                  <c:v>40798</c:v>
                </c:pt>
                <c:pt idx="481">
                  <c:v>40799</c:v>
                </c:pt>
                <c:pt idx="482">
                  <c:v>40800</c:v>
                </c:pt>
                <c:pt idx="483">
                  <c:v>40801</c:v>
                </c:pt>
                <c:pt idx="484">
                  <c:v>40802</c:v>
                </c:pt>
                <c:pt idx="485">
                  <c:v>40805</c:v>
                </c:pt>
                <c:pt idx="486">
                  <c:v>40806</c:v>
                </c:pt>
                <c:pt idx="487">
                  <c:v>40807</c:v>
                </c:pt>
                <c:pt idx="488">
                  <c:v>40808</c:v>
                </c:pt>
                <c:pt idx="489">
                  <c:v>40809</c:v>
                </c:pt>
                <c:pt idx="490">
                  <c:v>40812</c:v>
                </c:pt>
                <c:pt idx="491">
                  <c:v>40813</c:v>
                </c:pt>
                <c:pt idx="492">
                  <c:v>40814</c:v>
                </c:pt>
                <c:pt idx="493">
                  <c:v>40815</c:v>
                </c:pt>
                <c:pt idx="494">
                  <c:v>40816</c:v>
                </c:pt>
                <c:pt idx="495">
                  <c:v>40819</c:v>
                </c:pt>
                <c:pt idx="496">
                  <c:v>40820</c:v>
                </c:pt>
                <c:pt idx="497">
                  <c:v>40821</c:v>
                </c:pt>
                <c:pt idx="498">
                  <c:v>40822</c:v>
                </c:pt>
                <c:pt idx="499">
                  <c:v>40823</c:v>
                </c:pt>
                <c:pt idx="500">
                  <c:v>40826</c:v>
                </c:pt>
                <c:pt idx="501">
                  <c:v>40827</c:v>
                </c:pt>
                <c:pt idx="502">
                  <c:v>40828</c:v>
                </c:pt>
                <c:pt idx="503">
                  <c:v>40829</c:v>
                </c:pt>
                <c:pt idx="504">
                  <c:v>40830</c:v>
                </c:pt>
                <c:pt idx="505">
                  <c:v>40833</c:v>
                </c:pt>
                <c:pt idx="506">
                  <c:v>40834</c:v>
                </c:pt>
                <c:pt idx="507">
                  <c:v>40835</c:v>
                </c:pt>
                <c:pt idx="508">
                  <c:v>40836</c:v>
                </c:pt>
                <c:pt idx="509">
                  <c:v>40837</c:v>
                </c:pt>
                <c:pt idx="510">
                  <c:v>40840</c:v>
                </c:pt>
                <c:pt idx="511">
                  <c:v>40841</c:v>
                </c:pt>
                <c:pt idx="512">
                  <c:v>40842</c:v>
                </c:pt>
                <c:pt idx="513">
                  <c:v>40843</c:v>
                </c:pt>
                <c:pt idx="514">
                  <c:v>40844</c:v>
                </c:pt>
                <c:pt idx="515">
                  <c:v>40847</c:v>
                </c:pt>
                <c:pt idx="516">
                  <c:v>40848</c:v>
                </c:pt>
                <c:pt idx="517">
                  <c:v>40849</c:v>
                </c:pt>
                <c:pt idx="518">
                  <c:v>40850</c:v>
                </c:pt>
                <c:pt idx="519">
                  <c:v>40851</c:v>
                </c:pt>
                <c:pt idx="520">
                  <c:v>40854</c:v>
                </c:pt>
                <c:pt idx="521">
                  <c:v>40855</c:v>
                </c:pt>
                <c:pt idx="522">
                  <c:v>40856</c:v>
                </c:pt>
                <c:pt idx="523">
                  <c:v>40857</c:v>
                </c:pt>
                <c:pt idx="524">
                  <c:v>40858</c:v>
                </c:pt>
                <c:pt idx="525">
                  <c:v>40861</c:v>
                </c:pt>
                <c:pt idx="526">
                  <c:v>40862</c:v>
                </c:pt>
                <c:pt idx="527">
                  <c:v>40863</c:v>
                </c:pt>
                <c:pt idx="528">
                  <c:v>40864</c:v>
                </c:pt>
                <c:pt idx="529">
                  <c:v>40865</c:v>
                </c:pt>
                <c:pt idx="530">
                  <c:v>40868</c:v>
                </c:pt>
                <c:pt idx="531">
                  <c:v>40869</c:v>
                </c:pt>
                <c:pt idx="532">
                  <c:v>40870</c:v>
                </c:pt>
                <c:pt idx="533">
                  <c:v>40871</c:v>
                </c:pt>
                <c:pt idx="534">
                  <c:v>40872</c:v>
                </c:pt>
                <c:pt idx="535">
                  <c:v>40875</c:v>
                </c:pt>
                <c:pt idx="536">
                  <c:v>40876</c:v>
                </c:pt>
                <c:pt idx="537">
                  <c:v>40877</c:v>
                </c:pt>
                <c:pt idx="538">
                  <c:v>40878</c:v>
                </c:pt>
                <c:pt idx="539">
                  <c:v>40879</c:v>
                </c:pt>
                <c:pt idx="540">
                  <c:v>40882</c:v>
                </c:pt>
                <c:pt idx="541">
                  <c:v>40883</c:v>
                </c:pt>
                <c:pt idx="542">
                  <c:v>40884</c:v>
                </c:pt>
                <c:pt idx="543">
                  <c:v>40885</c:v>
                </c:pt>
                <c:pt idx="544">
                  <c:v>40886</c:v>
                </c:pt>
                <c:pt idx="545">
                  <c:v>40889</c:v>
                </c:pt>
                <c:pt idx="546">
                  <c:v>40890</c:v>
                </c:pt>
                <c:pt idx="547">
                  <c:v>40891</c:v>
                </c:pt>
                <c:pt idx="548">
                  <c:v>40892</c:v>
                </c:pt>
                <c:pt idx="549">
                  <c:v>40893</c:v>
                </c:pt>
                <c:pt idx="550">
                  <c:v>40896</c:v>
                </c:pt>
                <c:pt idx="551">
                  <c:v>40897</c:v>
                </c:pt>
                <c:pt idx="552">
                  <c:v>40898</c:v>
                </c:pt>
                <c:pt idx="553">
                  <c:v>40899</c:v>
                </c:pt>
                <c:pt idx="554">
                  <c:v>40900</c:v>
                </c:pt>
                <c:pt idx="555">
                  <c:v>40904</c:v>
                </c:pt>
                <c:pt idx="556">
                  <c:v>40905</c:v>
                </c:pt>
                <c:pt idx="557">
                  <c:v>40906</c:v>
                </c:pt>
                <c:pt idx="558">
                  <c:v>40907</c:v>
                </c:pt>
                <c:pt idx="559">
                  <c:v>40910</c:v>
                </c:pt>
                <c:pt idx="560">
                  <c:v>40911</c:v>
                </c:pt>
                <c:pt idx="561">
                  <c:v>40912</c:v>
                </c:pt>
                <c:pt idx="562">
                  <c:v>40913</c:v>
                </c:pt>
                <c:pt idx="563">
                  <c:v>40914</c:v>
                </c:pt>
                <c:pt idx="564">
                  <c:v>40917</c:v>
                </c:pt>
                <c:pt idx="565">
                  <c:v>40918</c:v>
                </c:pt>
                <c:pt idx="566">
                  <c:v>40919</c:v>
                </c:pt>
                <c:pt idx="567">
                  <c:v>40920</c:v>
                </c:pt>
                <c:pt idx="568">
                  <c:v>40921</c:v>
                </c:pt>
                <c:pt idx="569">
                  <c:v>40924</c:v>
                </c:pt>
                <c:pt idx="570">
                  <c:v>40925</c:v>
                </c:pt>
                <c:pt idx="571">
                  <c:v>40926</c:v>
                </c:pt>
                <c:pt idx="572">
                  <c:v>40927</c:v>
                </c:pt>
                <c:pt idx="573">
                  <c:v>40928</c:v>
                </c:pt>
                <c:pt idx="574">
                  <c:v>40931</c:v>
                </c:pt>
                <c:pt idx="575">
                  <c:v>40932</c:v>
                </c:pt>
                <c:pt idx="576">
                  <c:v>40933</c:v>
                </c:pt>
                <c:pt idx="577">
                  <c:v>40934</c:v>
                </c:pt>
                <c:pt idx="578">
                  <c:v>40935</c:v>
                </c:pt>
                <c:pt idx="579">
                  <c:v>40938</c:v>
                </c:pt>
                <c:pt idx="580">
                  <c:v>40939</c:v>
                </c:pt>
                <c:pt idx="581">
                  <c:v>40940</c:v>
                </c:pt>
                <c:pt idx="582">
                  <c:v>40941</c:v>
                </c:pt>
                <c:pt idx="583">
                  <c:v>40942</c:v>
                </c:pt>
                <c:pt idx="584">
                  <c:v>40945</c:v>
                </c:pt>
                <c:pt idx="585">
                  <c:v>40946</c:v>
                </c:pt>
                <c:pt idx="586">
                  <c:v>40947</c:v>
                </c:pt>
                <c:pt idx="587">
                  <c:v>40948</c:v>
                </c:pt>
                <c:pt idx="588">
                  <c:v>40949</c:v>
                </c:pt>
                <c:pt idx="589">
                  <c:v>40952</c:v>
                </c:pt>
                <c:pt idx="590">
                  <c:v>40953</c:v>
                </c:pt>
                <c:pt idx="591">
                  <c:v>40954</c:v>
                </c:pt>
                <c:pt idx="592">
                  <c:v>40955</c:v>
                </c:pt>
                <c:pt idx="593">
                  <c:v>40956</c:v>
                </c:pt>
                <c:pt idx="594">
                  <c:v>40959</c:v>
                </c:pt>
                <c:pt idx="595">
                  <c:v>40960</c:v>
                </c:pt>
                <c:pt idx="596">
                  <c:v>40961</c:v>
                </c:pt>
                <c:pt idx="597">
                  <c:v>40962</c:v>
                </c:pt>
                <c:pt idx="598">
                  <c:v>40963</c:v>
                </c:pt>
                <c:pt idx="599">
                  <c:v>40966</c:v>
                </c:pt>
                <c:pt idx="600">
                  <c:v>40967</c:v>
                </c:pt>
                <c:pt idx="601">
                  <c:v>40968</c:v>
                </c:pt>
                <c:pt idx="602">
                  <c:v>40969</c:v>
                </c:pt>
                <c:pt idx="603">
                  <c:v>40970</c:v>
                </c:pt>
                <c:pt idx="604">
                  <c:v>40973</c:v>
                </c:pt>
                <c:pt idx="605">
                  <c:v>40974</c:v>
                </c:pt>
                <c:pt idx="606">
                  <c:v>40975</c:v>
                </c:pt>
                <c:pt idx="607">
                  <c:v>40976</c:v>
                </c:pt>
                <c:pt idx="608">
                  <c:v>40977</c:v>
                </c:pt>
                <c:pt idx="609">
                  <c:v>40980</c:v>
                </c:pt>
                <c:pt idx="610">
                  <c:v>40981</c:v>
                </c:pt>
                <c:pt idx="611">
                  <c:v>40982</c:v>
                </c:pt>
                <c:pt idx="612">
                  <c:v>40983</c:v>
                </c:pt>
                <c:pt idx="613">
                  <c:v>40984</c:v>
                </c:pt>
                <c:pt idx="614">
                  <c:v>40987</c:v>
                </c:pt>
                <c:pt idx="615">
                  <c:v>40988</c:v>
                </c:pt>
                <c:pt idx="616">
                  <c:v>40989</c:v>
                </c:pt>
                <c:pt idx="617">
                  <c:v>40990</c:v>
                </c:pt>
                <c:pt idx="618">
                  <c:v>40991</c:v>
                </c:pt>
                <c:pt idx="619">
                  <c:v>40994</c:v>
                </c:pt>
                <c:pt idx="620">
                  <c:v>40995</c:v>
                </c:pt>
                <c:pt idx="621">
                  <c:v>40996</c:v>
                </c:pt>
                <c:pt idx="622">
                  <c:v>40997</c:v>
                </c:pt>
                <c:pt idx="623">
                  <c:v>40998</c:v>
                </c:pt>
                <c:pt idx="624">
                  <c:v>41001</c:v>
                </c:pt>
                <c:pt idx="625">
                  <c:v>41002</c:v>
                </c:pt>
                <c:pt idx="626">
                  <c:v>41003</c:v>
                </c:pt>
                <c:pt idx="627">
                  <c:v>41004</c:v>
                </c:pt>
                <c:pt idx="628">
                  <c:v>41009</c:v>
                </c:pt>
                <c:pt idx="629">
                  <c:v>41010</c:v>
                </c:pt>
                <c:pt idx="630">
                  <c:v>41011</c:v>
                </c:pt>
                <c:pt idx="631">
                  <c:v>41012</c:v>
                </c:pt>
                <c:pt idx="632">
                  <c:v>41015</c:v>
                </c:pt>
                <c:pt idx="633">
                  <c:v>41016</c:v>
                </c:pt>
                <c:pt idx="634">
                  <c:v>41017</c:v>
                </c:pt>
                <c:pt idx="635">
                  <c:v>41018</c:v>
                </c:pt>
                <c:pt idx="636">
                  <c:v>41019</c:v>
                </c:pt>
                <c:pt idx="637">
                  <c:v>41022</c:v>
                </c:pt>
                <c:pt idx="638">
                  <c:v>41023</c:v>
                </c:pt>
                <c:pt idx="639">
                  <c:v>41024</c:v>
                </c:pt>
                <c:pt idx="640">
                  <c:v>41025</c:v>
                </c:pt>
                <c:pt idx="641">
                  <c:v>41026</c:v>
                </c:pt>
                <c:pt idx="642">
                  <c:v>41029</c:v>
                </c:pt>
                <c:pt idx="643">
                  <c:v>41030</c:v>
                </c:pt>
                <c:pt idx="644">
                  <c:v>41031</c:v>
                </c:pt>
                <c:pt idx="645">
                  <c:v>41032</c:v>
                </c:pt>
                <c:pt idx="646">
                  <c:v>41033</c:v>
                </c:pt>
                <c:pt idx="647">
                  <c:v>41036</c:v>
                </c:pt>
                <c:pt idx="648">
                  <c:v>41037</c:v>
                </c:pt>
                <c:pt idx="649">
                  <c:v>41038</c:v>
                </c:pt>
                <c:pt idx="650">
                  <c:v>41039</c:v>
                </c:pt>
                <c:pt idx="651">
                  <c:v>41040</c:v>
                </c:pt>
                <c:pt idx="652">
                  <c:v>41043</c:v>
                </c:pt>
                <c:pt idx="653">
                  <c:v>41044</c:v>
                </c:pt>
                <c:pt idx="654">
                  <c:v>41045</c:v>
                </c:pt>
                <c:pt idx="655">
                  <c:v>41046</c:v>
                </c:pt>
                <c:pt idx="656">
                  <c:v>41047</c:v>
                </c:pt>
                <c:pt idx="657">
                  <c:v>41050</c:v>
                </c:pt>
                <c:pt idx="658">
                  <c:v>41051</c:v>
                </c:pt>
                <c:pt idx="659">
                  <c:v>41052</c:v>
                </c:pt>
                <c:pt idx="660">
                  <c:v>41053</c:v>
                </c:pt>
                <c:pt idx="661">
                  <c:v>41054</c:v>
                </c:pt>
                <c:pt idx="662">
                  <c:v>41057</c:v>
                </c:pt>
                <c:pt idx="663">
                  <c:v>41058</c:v>
                </c:pt>
                <c:pt idx="664">
                  <c:v>41059</c:v>
                </c:pt>
                <c:pt idx="665">
                  <c:v>41060</c:v>
                </c:pt>
                <c:pt idx="666">
                  <c:v>41061</c:v>
                </c:pt>
                <c:pt idx="667">
                  <c:v>41064</c:v>
                </c:pt>
                <c:pt idx="668">
                  <c:v>41065</c:v>
                </c:pt>
                <c:pt idx="669">
                  <c:v>41066</c:v>
                </c:pt>
                <c:pt idx="670">
                  <c:v>41067</c:v>
                </c:pt>
                <c:pt idx="671">
                  <c:v>41068</c:v>
                </c:pt>
                <c:pt idx="672">
                  <c:v>41071</c:v>
                </c:pt>
                <c:pt idx="673">
                  <c:v>41072</c:v>
                </c:pt>
                <c:pt idx="674">
                  <c:v>41073</c:v>
                </c:pt>
                <c:pt idx="675">
                  <c:v>41074</c:v>
                </c:pt>
                <c:pt idx="676">
                  <c:v>41075</c:v>
                </c:pt>
                <c:pt idx="677">
                  <c:v>41078</c:v>
                </c:pt>
                <c:pt idx="678">
                  <c:v>41079</c:v>
                </c:pt>
                <c:pt idx="679">
                  <c:v>41080</c:v>
                </c:pt>
                <c:pt idx="680">
                  <c:v>41081</c:v>
                </c:pt>
                <c:pt idx="681">
                  <c:v>41082</c:v>
                </c:pt>
                <c:pt idx="682">
                  <c:v>41085</c:v>
                </c:pt>
                <c:pt idx="683">
                  <c:v>41086</c:v>
                </c:pt>
                <c:pt idx="684">
                  <c:v>41087</c:v>
                </c:pt>
                <c:pt idx="685">
                  <c:v>41088</c:v>
                </c:pt>
                <c:pt idx="686">
                  <c:v>41089</c:v>
                </c:pt>
                <c:pt idx="687">
                  <c:v>41092</c:v>
                </c:pt>
                <c:pt idx="688">
                  <c:v>41093</c:v>
                </c:pt>
                <c:pt idx="689">
                  <c:v>41094</c:v>
                </c:pt>
                <c:pt idx="690">
                  <c:v>41095</c:v>
                </c:pt>
                <c:pt idx="691">
                  <c:v>41096</c:v>
                </c:pt>
                <c:pt idx="692">
                  <c:v>41099</c:v>
                </c:pt>
                <c:pt idx="693">
                  <c:v>41100</c:v>
                </c:pt>
                <c:pt idx="694">
                  <c:v>41101</c:v>
                </c:pt>
                <c:pt idx="695">
                  <c:v>41102</c:v>
                </c:pt>
                <c:pt idx="696">
                  <c:v>41103</c:v>
                </c:pt>
                <c:pt idx="697">
                  <c:v>41106</c:v>
                </c:pt>
                <c:pt idx="698">
                  <c:v>41107</c:v>
                </c:pt>
                <c:pt idx="699">
                  <c:v>41108</c:v>
                </c:pt>
                <c:pt idx="700">
                  <c:v>41109</c:v>
                </c:pt>
                <c:pt idx="701">
                  <c:v>41110</c:v>
                </c:pt>
                <c:pt idx="702">
                  <c:v>41113</c:v>
                </c:pt>
                <c:pt idx="703">
                  <c:v>41114</c:v>
                </c:pt>
                <c:pt idx="704">
                  <c:v>41115</c:v>
                </c:pt>
                <c:pt idx="705">
                  <c:v>41116</c:v>
                </c:pt>
                <c:pt idx="706">
                  <c:v>41117</c:v>
                </c:pt>
                <c:pt idx="707">
                  <c:v>41120</c:v>
                </c:pt>
                <c:pt idx="708">
                  <c:v>41121</c:v>
                </c:pt>
                <c:pt idx="709">
                  <c:v>41122</c:v>
                </c:pt>
                <c:pt idx="710">
                  <c:v>41123</c:v>
                </c:pt>
                <c:pt idx="711">
                  <c:v>41124</c:v>
                </c:pt>
                <c:pt idx="712">
                  <c:v>41127</c:v>
                </c:pt>
                <c:pt idx="713">
                  <c:v>41128</c:v>
                </c:pt>
                <c:pt idx="714">
                  <c:v>41129</c:v>
                </c:pt>
                <c:pt idx="715">
                  <c:v>41130</c:v>
                </c:pt>
                <c:pt idx="716">
                  <c:v>41131</c:v>
                </c:pt>
                <c:pt idx="717">
                  <c:v>41134</c:v>
                </c:pt>
                <c:pt idx="718">
                  <c:v>41135</c:v>
                </c:pt>
                <c:pt idx="719">
                  <c:v>41136</c:v>
                </c:pt>
                <c:pt idx="720">
                  <c:v>41137</c:v>
                </c:pt>
                <c:pt idx="721">
                  <c:v>41138</c:v>
                </c:pt>
                <c:pt idx="722">
                  <c:v>41141</c:v>
                </c:pt>
                <c:pt idx="723">
                  <c:v>41142</c:v>
                </c:pt>
                <c:pt idx="724">
                  <c:v>41143</c:v>
                </c:pt>
                <c:pt idx="725">
                  <c:v>41144</c:v>
                </c:pt>
                <c:pt idx="726">
                  <c:v>41145</c:v>
                </c:pt>
                <c:pt idx="727">
                  <c:v>41148</c:v>
                </c:pt>
                <c:pt idx="728">
                  <c:v>41149</c:v>
                </c:pt>
                <c:pt idx="729">
                  <c:v>41150</c:v>
                </c:pt>
                <c:pt idx="730">
                  <c:v>41151</c:v>
                </c:pt>
                <c:pt idx="731">
                  <c:v>41152</c:v>
                </c:pt>
                <c:pt idx="732">
                  <c:v>41155</c:v>
                </c:pt>
                <c:pt idx="733">
                  <c:v>41156</c:v>
                </c:pt>
                <c:pt idx="734">
                  <c:v>41157</c:v>
                </c:pt>
                <c:pt idx="735">
                  <c:v>41158</c:v>
                </c:pt>
                <c:pt idx="736">
                  <c:v>41159</c:v>
                </c:pt>
                <c:pt idx="737">
                  <c:v>41162</c:v>
                </c:pt>
                <c:pt idx="738">
                  <c:v>41163</c:v>
                </c:pt>
                <c:pt idx="739">
                  <c:v>41164</c:v>
                </c:pt>
                <c:pt idx="740">
                  <c:v>41165</c:v>
                </c:pt>
                <c:pt idx="741">
                  <c:v>41166</c:v>
                </c:pt>
                <c:pt idx="742">
                  <c:v>41169</c:v>
                </c:pt>
                <c:pt idx="743">
                  <c:v>41170</c:v>
                </c:pt>
                <c:pt idx="744">
                  <c:v>41171</c:v>
                </c:pt>
                <c:pt idx="745">
                  <c:v>41172</c:v>
                </c:pt>
                <c:pt idx="746">
                  <c:v>41173</c:v>
                </c:pt>
                <c:pt idx="747">
                  <c:v>41176</c:v>
                </c:pt>
                <c:pt idx="748">
                  <c:v>41177</c:v>
                </c:pt>
                <c:pt idx="749">
                  <c:v>41178</c:v>
                </c:pt>
                <c:pt idx="750">
                  <c:v>41179</c:v>
                </c:pt>
                <c:pt idx="751">
                  <c:v>41180</c:v>
                </c:pt>
                <c:pt idx="752">
                  <c:v>41183</c:v>
                </c:pt>
                <c:pt idx="753">
                  <c:v>41184</c:v>
                </c:pt>
                <c:pt idx="754">
                  <c:v>41185</c:v>
                </c:pt>
                <c:pt idx="755">
                  <c:v>41186</c:v>
                </c:pt>
                <c:pt idx="756">
                  <c:v>41187</c:v>
                </c:pt>
                <c:pt idx="757">
                  <c:v>41190</c:v>
                </c:pt>
                <c:pt idx="758">
                  <c:v>41191</c:v>
                </c:pt>
                <c:pt idx="759">
                  <c:v>41192</c:v>
                </c:pt>
                <c:pt idx="760">
                  <c:v>41193</c:v>
                </c:pt>
                <c:pt idx="761">
                  <c:v>41194</c:v>
                </c:pt>
                <c:pt idx="762">
                  <c:v>41197</c:v>
                </c:pt>
                <c:pt idx="763">
                  <c:v>41198</c:v>
                </c:pt>
                <c:pt idx="764">
                  <c:v>41199</c:v>
                </c:pt>
                <c:pt idx="765">
                  <c:v>41200</c:v>
                </c:pt>
                <c:pt idx="766">
                  <c:v>41201</c:v>
                </c:pt>
                <c:pt idx="767">
                  <c:v>41204</c:v>
                </c:pt>
                <c:pt idx="768">
                  <c:v>41205</c:v>
                </c:pt>
                <c:pt idx="769">
                  <c:v>41206</c:v>
                </c:pt>
                <c:pt idx="770">
                  <c:v>41207</c:v>
                </c:pt>
                <c:pt idx="771">
                  <c:v>41208</c:v>
                </c:pt>
                <c:pt idx="772">
                  <c:v>41211</c:v>
                </c:pt>
                <c:pt idx="773">
                  <c:v>41212</c:v>
                </c:pt>
                <c:pt idx="774">
                  <c:v>41213</c:v>
                </c:pt>
                <c:pt idx="775">
                  <c:v>41214</c:v>
                </c:pt>
                <c:pt idx="776">
                  <c:v>41215</c:v>
                </c:pt>
                <c:pt idx="777">
                  <c:v>41218</c:v>
                </c:pt>
                <c:pt idx="778">
                  <c:v>41219</c:v>
                </c:pt>
                <c:pt idx="779">
                  <c:v>41220</c:v>
                </c:pt>
                <c:pt idx="780">
                  <c:v>41221</c:v>
                </c:pt>
                <c:pt idx="781">
                  <c:v>41222</c:v>
                </c:pt>
                <c:pt idx="782">
                  <c:v>41225</c:v>
                </c:pt>
                <c:pt idx="783">
                  <c:v>41226</c:v>
                </c:pt>
                <c:pt idx="784">
                  <c:v>41227</c:v>
                </c:pt>
                <c:pt idx="785">
                  <c:v>41228</c:v>
                </c:pt>
                <c:pt idx="786">
                  <c:v>41229</c:v>
                </c:pt>
                <c:pt idx="787">
                  <c:v>41232</c:v>
                </c:pt>
                <c:pt idx="788">
                  <c:v>41233</c:v>
                </c:pt>
                <c:pt idx="789">
                  <c:v>41234</c:v>
                </c:pt>
                <c:pt idx="790">
                  <c:v>41235</c:v>
                </c:pt>
                <c:pt idx="791">
                  <c:v>41236</c:v>
                </c:pt>
                <c:pt idx="792">
                  <c:v>41239</c:v>
                </c:pt>
                <c:pt idx="793">
                  <c:v>41240</c:v>
                </c:pt>
                <c:pt idx="794">
                  <c:v>41241</c:v>
                </c:pt>
                <c:pt idx="795">
                  <c:v>41242</c:v>
                </c:pt>
                <c:pt idx="796">
                  <c:v>41243</c:v>
                </c:pt>
                <c:pt idx="797">
                  <c:v>41246</c:v>
                </c:pt>
                <c:pt idx="798">
                  <c:v>41247</c:v>
                </c:pt>
                <c:pt idx="799">
                  <c:v>41248</c:v>
                </c:pt>
                <c:pt idx="800">
                  <c:v>41249</c:v>
                </c:pt>
                <c:pt idx="801">
                  <c:v>41250</c:v>
                </c:pt>
                <c:pt idx="802">
                  <c:v>41253</c:v>
                </c:pt>
                <c:pt idx="803">
                  <c:v>41254</c:v>
                </c:pt>
                <c:pt idx="804">
                  <c:v>41255</c:v>
                </c:pt>
                <c:pt idx="805">
                  <c:v>41256</c:v>
                </c:pt>
                <c:pt idx="806">
                  <c:v>41257</c:v>
                </c:pt>
                <c:pt idx="807">
                  <c:v>41260</c:v>
                </c:pt>
                <c:pt idx="808">
                  <c:v>41261</c:v>
                </c:pt>
                <c:pt idx="809">
                  <c:v>41262</c:v>
                </c:pt>
                <c:pt idx="810">
                  <c:v>41263</c:v>
                </c:pt>
                <c:pt idx="811">
                  <c:v>41264</c:v>
                </c:pt>
                <c:pt idx="812">
                  <c:v>41267</c:v>
                </c:pt>
                <c:pt idx="813">
                  <c:v>41270</c:v>
                </c:pt>
                <c:pt idx="814">
                  <c:v>41271</c:v>
                </c:pt>
                <c:pt idx="815">
                  <c:v>41274</c:v>
                </c:pt>
                <c:pt idx="816">
                  <c:v>41276</c:v>
                </c:pt>
                <c:pt idx="817">
                  <c:v>41277</c:v>
                </c:pt>
                <c:pt idx="818">
                  <c:v>41278</c:v>
                </c:pt>
                <c:pt idx="819">
                  <c:v>41281</c:v>
                </c:pt>
                <c:pt idx="820">
                  <c:v>41282</c:v>
                </c:pt>
                <c:pt idx="821">
                  <c:v>41283</c:v>
                </c:pt>
                <c:pt idx="822">
                  <c:v>41284</c:v>
                </c:pt>
                <c:pt idx="823">
                  <c:v>41285</c:v>
                </c:pt>
                <c:pt idx="824">
                  <c:v>41288</c:v>
                </c:pt>
                <c:pt idx="825">
                  <c:v>41289</c:v>
                </c:pt>
                <c:pt idx="826">
                  <c:v>41290</c:v>
                </c:pt>
                <c:pt idx="827">
                  <c:v>41291</c:v>
                </c:pt>
                <c:pt idx="828">
                  <c:v>41292</c:v>
                </c:pt>
                <c:pt idx="829">
                  <c:v>41295</c:v>
                </c:pt>
                <c:pt idx="830">
                  <c:v>41296</c:v>
                </c:pt>
                <c:pt idx="831">
                  <c:v>41297</c:v>
                </c:pt>
                <c:pt idx="832">
                  <c:v>41298</c:v>
                </c:pt>
                <c:pt idx="833">
                  <c:v>41299</c:v>
                </c:pt>
                <c:pt idx="834">
                  <c:v>41302</c:v>
                </c:pt>
                <c:pt idx="835">
                  <c:v>41303</c:v>
                </c:pt>
                <c:pt idx="836">
                  <c:v>41304</c:v>
                </c:pt>
                <c:pt idx="837">
                  <c:v>41305</c:v>
                </c:pt>
                <c:pt idx="838">
                  <c:v>41306</c:v>
                </c:pt>
                <c:pt idx="839">
                  <c:v>41309</c:v>
                </c:pt>
                <c:pt idx="840">
                  <c:v>41310</c:v>
                </c:pt>
                <c:pt idx="841">
                  <c:v>41311</c:v>
                </c:pt>
                <c:pt idx="842">
                  <c:v>41312</c:v>
                </c:pt>
                <c:pt idx="843">
                  <c:v>41313</c:v>
                </c:pt>
                <c:pt idx="844">
                  <c:v>41316</c:v>
                </c:pt>
                <c:pt idx="845">
                  <c:v>41317</c:v>
                </c:pt>
                <c:pt idx="846">
                  <c:v>41318</c:v>
                </c:pt>
                <c:pt idx="847">
                  <c:v>41319</c:v>
                </c:pt>
                <c:pt idx="848">
                  <c:v>41320</c:v>
                </c:pt>
                <c:pt idx="849">
                  <c:v>41323</c:v>
                </c:pt>
                <c:pt idx="850">
                  <c:v>41324</c:v>
                </c:pt>
                <c:pt idx="851">
                  <c:v>41325</c:v>
                </c:pt>
                <c:pt idx="852">
                  <c:v>41326</c:v>
                </c:pt>
                <c:pt idx="853">
                  <c:v>41327</c:v>
                </c:pt>
                <c:pt idx="854">
                  <c:v>41330</c:v>
                </c:pt>
                <c:pt idx="855">
                  <c:v>41331</c:v>
                </c:pt>
                <c:pt idx="856">
                  <c:v>41332</c:v>
                </c:pt>
                <c:pt idx="857">
                  <c:v>41333</c:v>
                </c:pt>
                <c:pt idx="858">
                  <c:v>41334</c:v>
                </c:pt>
                <c:pt idx="859">
                  <c:v>41337</c:v>
                </c:pt>
                <c:pt idx="860">
                  <c:v>41338</c:v>
                </c:pt>
                <c:pt idx="861">
                  <c:v>41339</c:v>
                </c:pt>
                <c:pt idx="862">
                  <c:v>41340</c:v>
                </c:pt>
                <c:pt idx="863">
                  <c:v>41341</c:v>
                </c:pt>
                <c:pt idx="864">
                  <c:v>41344</c:v>
                </c:pt>
                <c:pt idx="865">
                  <c:v>41345</c:v>
                </c:pt>
                <c:pt idx="866">
                  <c:v>41346</c:v>
                </c:pt>
                <c:pt idx="867">
                  <c:v>41347</c:v>
                </c:pt>
                <c:pt idx="868">
                  <c:v>41348</c:v>
                </c:pt>
                <c:pt idx="869">
                  <c:v>41351</c:v>
                </c:pt>
                <c:pt idx="870">
                  <c:v>41352</c:v>
                </c:pt>
                <c:pt idx="871">
                  <c:v>41353</c:v>
                </c:pt>
                <c:pt idx="872">
                  <c:v>41354</c:v>
                </c:pt>
                <c:pt idx="873">
                  <c:v>41355</c:v>
                </c:pt>
                <c:pt idx="874">
                  <c:v>41358</c:v>
                </c:pt>
                <c:pt idx="875">
                  <c:v>41359</c:v>
                </c:pt>
                <c:pt idx="876">
                  <c:v>41360</c:v>
                </c:pt>
                <c:pt idx="877">
                  <c:v>41361</c:v>
                </c:pt>
                <c:pt idx="878">
                  <c:v>41366</c:v>
                </c:pt>
                <c:pt idx="879">
                  <c:v>41367</c:v>
                </c:pt>
                <c:pt idx="880">
                  <c:v>41368</c:v>
                </c:pt>
                <c:pt idx="881">
                  <c:v>41369</c:v>
                </c:pt>
                <c:pt idx="882">
                  <c:v>41372</c:v>
                </c:pt>
                <c:pt idx="883">
                  <c:v>41373</c:v>
                </c:pt>
                <c:pt idx="884">
                  <c:v>41374</c:v>
                </c:pt>
                <c:pt idx="885">
                  <c:v>41375</c:v>
                </c:pt>
                <c:pt idx="886">
                  <c:v>41376</c:v>
                </c:pt>
                <c:pt idx="887">
                  <c:v>41379</c:v>
                </c:pt>
                <c:pt idx="888">
                  <c:v>41380</c:v>
                </c:pt>
                <c:pt idx="889">
                  <c:v>41381</c:v>
                </c:pt>
                <c:pt idx="890">
                  <c:v>41382</c:v>
                </c:pt>
                <c:pt idx="891">
                  <c:v>41383</c:v>
                </c:pt>
                <c:pt idx="892">
                  <c:v>41386</c:v>
                </c:pt>
                <c:pt idx="893">
                  <c:v>41387</c:v>
                </c:pt>
                <c:pt idx="894">
                  <c:v>41388</c:v>
                </c:pt>
                <c:pt idx="895">
                  <c:v>41389</c:v>
                </c:pt>
                <c:pt idx="896">
                  <c:v>41390</c:v>
                </c:pt>
                <c:pt idx="897">
                  <c:v>41393</c:v>
                </c:pt>
                <c:pt idx="898">
                  <c:v>41394</c:v>
                </c:pt>
                <c:pt idx="899">
                  <c:v>41395</c:v>
                </c:pt>
                <c:pt idx="900">
                  <c:v>41396</c:v>
                </c:pt>
                <c:pt idx="901">
                  <c:v>41397</c:v>
                </c:pt>
                <c:pt idx="902">
                  <c:v>41400</c:v>
                </c:pt>
                <c:pt idx="903">
                  <c:v>41401</c:v>
                </c:pt>
                <c:pt idx="904">
                  <c:v>41402</c:v>
                </c:pt>
                <c:pt idx="905">
                  <c:v>41403</c:v>
                </c:pt>
                <c:pt idx="906">
                  <c:v>41404</c:v>
                </c:pt>
                <c:pt idx="907">
                  <c:v>41407</c:v>
                </c:pt>
                <c:pt idx="908">
                  <c:v>41408</c:v>
                </c:pt>
                <c:pt idx="909">
                  <c:v>41409</c:v>
                </c:pt>
                <c:pt idx="910">
                  <c:v>41410</c:v>
                </c:pt>
                <c:pt idx="911">
                  <c:v>41411</c:v>
                </c:pt>
                <c:pt idx="912">
                  <c:v>41414</c:v>
                </c:pt>
                <c:pt idx="913">
                  <c:v>41415</c:v>
                </c:pt>
                <c:pt idx="914">
                  <c:v>41416</c:v>
                </c:pt>
                <c:pt idx="915">
                  <c:v>41417</c:v>
                </c:pt>
                <c:pt idx="916">
                  <c:v>41418</c:v>
                </c:pt>
                <c:pt idx="917">
                  <c:v>41421</c:v>
                </c:pt>
                <c:pt idx="918">
                  <c:v>41422</c:v>
                </c:pt>
                <c:pt idx="919">
                  <c:v>41423</c:v>
                </c:pt>
                <c:pt idx="920">
                  <c:v>41424</c:v>
                </c:pt>
                <c:pt idx="921">
                  <c:v>41425</c:v>
                </c:pt>
                <c:pt idx="922">
                  <c:v>41428</c:v>
                </c:pt>
                <c:pt idx="923">
                  <c:v>41429</c:v>
                </c:pt>
                <c:pt idx="924">
                  <c:v>41430</c:v>
                </c:pt>
                <c:pt idx="925">
                  <c:v>41431</c:v>
                </c:pt>
                <c:pt idx="926">
                  <c:v>41432</c:v>
                </c:pt>
                <c:pt idx="927">
                  <c:v>41435</c:v>
                </c:pt>
                <c:pt idx="928">
                  <c:v>41436</c:v>
                </c:pt>
                <c:pt idx="929">
                  <c:v>41437</c:v>
                </c:pt>
                <c:pt idx="930">
                  <c:v>41438</c:v>
                </c:pt>
                <c:pt idx="931">
                  <c:v>41439</c:v>
                </c:pt>
                <c:pt idx="932">
                  <c:v>41442</c:v>
                </c:pt>
                <c:pt idx="933">
                  <c:v>41443</c:v>
                </c:pt>
                <c:pt idx="934">
                  <c:v>41444</c:v>
                </c:pt>
                <c:pt idx="935">
                  <c:v>41445</c:v>
                </c:pt>
                <c:pt idx="936">
                  <c:v>41446</c:v>
                </c:pt>
                <c:pt idx="937">
                  <c:v>41449</c:v>
                </c:pt>
                <c:pt idx="938">
                  <c:v>41450</c:v>
                </c:pt>
                <c:pt idx="939">
                  <c:v>41451</c:v>
                </c:pt>
                <c:pt idx="940">
                  <c:v>41452</c:v>
                </c:pt>
                <c:pt idx="941">
                  <c:v>41453</c:v>
                </c:pt>
                <c:pt idx="942">
                  <c:v>41456</c:v>
                </c:pt>
                <c:pt idx="943">
                  <c:v>41457</c:v>
                </c:pt>
                <c:pt idx="944">
                  <c:v>41458</c:v>
                </c:pt>
                <c:pt idx="945">
                  <c:v>41459</c:v>
                </c:pt>
                <c:pt idx="946">
                  <c:v>41460</c:v>
                </c:pt>
                <c:pt idx="947">
                  <c:v>41463</c:v>
                </c:pt>
                <c:pt idx="948">
                  <c:v>41464</c:v>
                </c:pt>
                <c:pt idx="949">
                  <c:v>41465</c:v>
                </c:pt>
                <c:pt idx="950">
                  <c:v>41466</c:v>
                </c:pt>
                <c:pt idx="951">
                  <c:v>41467</c:v>
                </c:pt>
                <c:pt idx="952">
                  <c:v>41470</c:v>
                </c:pt>
                <c:pt idx="953">
                  <c:v>41471</c:v>
                </c:pt>
                <c:pt idx="954">
                  <c:v>41472</c:v>
                </c:pt>
                <c:pt idx="955">
                  <c:v>41473</c:v>
                </c:pt>
                <c:pt idx="956">
                  <c:v>41474</c:v>
                </c:pt>
                <c:pt idx="957">
                  <c:v>41477</c:v>
                </c:pt>
                <c:pt idx="958">
                  <c:v>41478</c:v>
                </c:pt>
                <c:pt idx="959">
                  <c:v>41479</c:v>
                </c:pt>
                <c:pt idx="960">
                  <c:v>41480</c:v>
                </c:pt>
                <c:pt idx="961">
                  <c:v>41481</c:v>
                </c:pt>
                <c:pt idx="962">
                  <c:v>41484</c:v>
                </c:pt>
                <c:pt idx="963">
                  <c:v>41485</c:v>
                </c:pt>
                <c:pt idx="964">
                  <c:v>41486</c:v>
                </c:pt>
                <c:pt idx="965">
                  <c:v>41487</c:v>
                </c:pt>
                <c:pt idx="966">
                  <c:v>41488</c:v>
                </c:pt>
                <c:pt idx="967">
                  <c:v>41491</c:v>
                </c:pt>
                <c:pt idx="968">
                  <c:v>41492</c:v>
                </c:pt>
                <c:pt idx="969">
                  <c:v>41493</c:v>
                </c:pt>
                <c:pt idx="970">
                  <c:v>41494</c:v>
                </c:pt>
                <c:pt idx="971">
                  <c:v>41495</c:v>
                </c:pt>
                <c:pt idx="972">
                  <c:v>41498</c:v>
                </c:pt>
                <c:pt idx="973">
                  <c:v>41499</c:v>
                </c:pt>
                <c:pt idx="974">
                  <c:v>41500</c:v>
                </c:pt>
                <c:pt idx="975">
                  <c:v>41501</c:v>
                </c:pt>
                <c:pt idx="976">
                  <c:v>41502</c:v>
                </c:pt>
                <c:pt idx="977">
                  <c:v>41505</c:v>
                </c:pt>
                <c:pt idx="978">
                  <c:v>41506</c:v>
                </c:pt>
                <c:pt idx="979">
                  <c:v>41507</c:v>
                </c:pt>
                <c:pt idx="980">
                  <c:v>41508</c:v>
                </c:pt>
                <c:pt idx="981">
                  <c:v>41509</c:v>
                </c:pt>
                <c:pt idx="982">
                  <c:v>41512</c:v>
                </c:pt>
                <c:pt idx="983">
                  <c:v>41513</c:v>
                </c:pt>
                <c:pt idx="984">
                  <c:v>41514</c:v>
                </c:pt>
                <c:pt idx="985">
                  <c:v>41515</c:v>
                </c:pt>
                <c:pt idx="986">
                  <c:v>41516</c:v>
                </c:pt>
                <c:pt idx="987">
                  <c:v>41519</c:v>
                </c:pt>
                <c:pt idx="988">
                  <c:v>41520</c:v>
                </c:pt>
                <c:pt idx="989">
                  <c:v>41521</c:v>
                </c:pt>
                <c:pt idx="990">
                  <c:v>41522</c:v>
                </c:pt>
                <c:pt idx="991">
                  <c:v>41523</c:v>
                </c:pt>
                <c:pt idx="992">
                  <c:v>41526</c:v>
                </c:pt>
                <c:pt idx="993">
                  <c:v>41527</c:v>
                </c:pt>
                <c:pt idx="994">
                  <c:v>41528</c:v>
                </c:pt>
                <c:pt idx="995">
                  <c:v>41529</c:v>
                </c:pt>
                <c:pt idx="996">
                  <c:v>41530</c:v>
                </c:pt>
                <c:pt idx="997">
                  <c:v>41533</c:v>
                </c:pt>
                <c:pt idx="998">
                  <c:v>41534</c:v>
                </c:pt>
                <c:pt idx="999">
                  <c:v>41535</c:v>
                </c:pt>
                <c:pt idx="1000">
                  <c:v>41536</c:v>
                </c:pt>
                <c:pt idx="1001">
                  <c:v>41537</c:v>
                </c:pt>
                <c:pt idx="1002">
                  <c:v>41540</c:v>
                </c:pt>
                <c:pt idx="1003">
                  <c:v>41541</c:v>
                </c:pt>
                <c:pt idx="1004">
                  <c:v>41542</c:v>
                </c:pt>
                <c:pt idx="1005">
                  <c:v>41543</c:v>
                </c:pt>
                <c:pt idx="1006">
                  <c:v>41544</c:v>
                </c:pt>
                <c:pt idx="1007">
                  <c:v>41547</c:v>
                </c:pt>
                <c:pt idx="1008">
                  <c:v>41548</c:v>
                </c:pt>
                <c:pt idx="1009">
                  <c:v>41549</c:v>
                </c:pt>
                <c:pt idx="1010">
                  <c:v>41550</c:v>
                </c:pt>
                <c:pt idx="1011">
                  <c:v>41551</c:v>
                </c:pt>
                <c:pt idx="1012">
                  <c:v>41554</c:v>
                </c:pt>
                <c:pt idx="1013">
                  <c:v>41555</c:v>
                </c:pt>
                <c:pt idx="1014">
                  <c:v>41556</c:v>
                </c:pt>
                <c:pt idx="1015">
                  <c:v>41557</c:v>
                </c:pt>
                <c:pt idx="1016">
                  <c:v>41558</c:v>
                </c:pt>
                <c:pt idx="1017">
                  <c:v>41561</c:v>
                </c:pt>
                <c:pt idx="1018">
                  <c:v>41562</c:v>
                </c:pt>
                <c:pt idx="1019">
                  <c:v>41563</c:v>
                </c:pt>
                <c:pt idx="1020">
                  <c:v>41564</c:v>
                </c:pt>
                <c:pt idx="1021">
                  <c:v>41565</c:v>
                </c:pt>
                <c:pt idx="1022">
                  <c:v>41568</c:v>
                </c:pt>
                <c:pt idx="1023">
                  <c:v>41569</c:v>
                </c:pt>
                <c:pt idx="1024">
                  <c:v>41570</c:v>
                </c:pt>
                <c:pt idx="1025">
                  <c:v>41571</c:v>
                </c:pt>
                <c:pt idx="1026">
                  <c:v>41572</c:v>
                </c:pt>
                <c:pt idx="1027">
                  <c:v>41575</c:v>
                </c:pt>
                <c:pt idx="1028">
                  <c:v>41576</c:v>
                </c:pt>
                <c:pt idx="1029">
                  <c:v>41577</c:v>
                </c:pt>
                <c:pt idx="1030">
                  <c:v>41578</c:v>
                </c:pt>
                <c:pt idx="1031">
                  <c:v>41579</c:v>
                </c:pt>
                <c:pt idx="1032">
                  <c:v>41582</c:v>
                </c:pt>
                <c:pt idx="1033">
                  <c:v>41583</c:v>
                </c:pt>
                <c:pt idx="1034">
                  <c:v>41584</c:v>
                </c:pt>
                <c:pt idx="1035">
                  <c:v>41585</c:v>
                </c:pt>
                <c:pt idx="1036">
                  <c:v>41586</c:v>
                </c:pt>
                <c:pt idx="1037">
                  <c:v>41589</c:v>
                </c:pt>
                <c:pt idx="1038">
                  <c:v>41590</c:v>
                </c:pt>
                <c:pt idx="1039">
                  <c:v>41591</c:v>
                </c:pt>
                <c:pt idx="1040">
                  <c:v>41592</c:v>
                </c:pt>
                <c:pt idx="1041">
                  <c:v>41593</c:v>
                </c:pt>
                <c:pt idx="1042">
                  <c:v>41596</c:v>
                </c:pt>
                <c:pt idx="1043">
                  <c:v>41597</c:v>
                </c:pt>
                <c:pt idx="1044">
                  <c:v>41598</c:v>
                </c:pt>
                <c:pt idx="1045">
                  <c:v>41599</c:v>
                </c:pt>
                <c:pt idx="1046">
                  <c:v>41600</c:v>
                </c:pt>
                <c:pt idx="1047">
                  <c:v>41603</c:v>
                </c:pt>
                <c:pt idx="1048">
                  <c:v>41604</c:v>
                </c:pt>
                <c:pt idx="1049">
                  <c:v>41605</c:v>
                </c:pt>
                <c:pt idx="1050">
                  <c:v>41606</c:v>
                </c:pt>
                <c:pt idx="1051">
                  <c:v>41607</c:v>
                </c:pt>
                <c:pt idx="1052">
                  <c:v>41610</c:v>
                </c:pt>
                <c:pt idx="1053">
                  <c:v>41611</c:v>
                </c:pt>
                <c:pt idx="1054">
                  <c:v>41612</c:v>
                </c:pt>
                <c:pt idx="1055">
                  <c:v>41613</c:v>
                </c:pt>
                <c:pt idx="1056">
                  <c:v>41614</c:v>
                </c:pt>
                <c:pt idx="1057">
                  <c:v>41617</c:v>
                </c:pt>
                <c:pt idx="1058">
                  <c:v>41618</c:v>
                </c:pt>
                <c:pt idx="1059">
                  <c:v>41619</c:v>
                </c:pt>
                <c:pt idx="1060">
                  <c:v>41620</c:v>
                </c:pt>
                <c:pt idx="1061">
                  <c:v>41621</c:v>
                </c:pt>
                <c:pt idx="1062">
                  <c:v>41624</c:v>
                </c:pt>
                <c:pt idx="1063">
                  <c:v>41625</c:v>
                </c:pt>
                <c:pt idx="1064">
                  <c:v>41626</c:v>
                </c:pt>
                <c:pt idx="1065">
                  <c:v>41627</c:v>
                </c:pt>
                <c:pt idx="1066">
                  <c:v>41628</c:v>
                </c:pt>
                <c:pt idx="1067">
                  <c:v>41631</c:v>
                </c:pt>
                <c:pt idx="1068">
                  <c:v>41632</c:v>
                </c:pt>
                <c:pt idx="1069">
                  <c:v>41635</c:v>
                </c:pt>
                <c:pt idx="1070">
                  <c:v>41638</c:v>
                </c:pt>
                <c:pt idx="1071">
                  <c:v>41639</c:v>
                </c:pt>
                <c:pt idx="1072">
                  <c:v>41641</c:v>
                </c:pt>
                <c:pt idx="1073">
                  <c:v>41642</c:v>
                </c:pt>
                <c:pt idx="1074">
                  <c:v>41645</c:v>
                </c:pt>
                <c:pt idx="1075">
                  <c:v>41646</c:v>
                </c:pt>
                <c:pt idx="1076">
                  <c:v>41647</c:v>
                </c:pt>
                <c:pt idx="1077">
                  <c:v>41648</c:v>
                </c:pt>
                <c:pt idx="1078">
                  <c:v>41649</c:v>
                </c:pt>
                <c:pt idx="1079">
                  <c:v>41652</c:v>
                </c:pt>
                <c:pt idx="1080">
                  <c:v>41653</c:v>
                </c:pt>
                <c:pt idx="1081">
                  <c:v>41654</c:v>
                </c:pt>
                <c:pt idx="1082">
                  <c:v>41655</c:v>
                </c:pt>
                <c:pt idx="1083">
                  <c:v>41656</c:v>
                </c:pt>
                <c:pt idx="1084">
                  <c:v>41659</c:v>
                </c:pt>
                <c:pt idx="1085">
                  <c:v>41660</c:v>
                </c:pt>
                <c:pt idx="1086">
                  <c:v>41661</c:v>
                </c:pt>
                <c:pt idx="1087">
                  <c:v>41662</c:v>
                </c:pt>
                <c:pt idx="1088">
                  <c:v>41663</c:v>
                </c:pt>
                <c:pt idx="1089">
                  <c:v>41666</c:v>
                </c:pt>
                <c:pt idx="1090">
                  <c:v>41667</c:v>
                </c:pt>
                <c:pt idx="1091">
                  <c:v>41668</c:v>
                </c:pt>
                <c:pt idx="1092">
                  <c:v>41669</c:v>
                </c:pt>
                <c:pt idx="1093">
                  <c:v>41670</c:v>
                </c:pt>
                <c:pt idx="1094">
                  <c:v>41673</c:v>
                </c:pt>
                <c:pt idx="1095">
                  <c:v>41674</c:v>
                </c:pt>
                <c:pt idx="1096">
                  <c:v>41675</c:v>
                </c:pt>
                <c:pt idx="1097">
                  <c:v>41676</c:v>
                </c:pt>
                <c:pt idx="1098">
                  <c:v>41677</c:v>
                </c:pt>
                <c:pt idx="1099">
                  <c:v>41680</c:v>
                </c:pt>
                <c:pt idx="1100">
                  <c:v>41681</c:v>
                </c:pt>
                <c:pt idx="1101">
                  <c:v>41682</c:v>
                </c:pt>
                <c:pt idx="1102">
                  <c:v>41683</c:v>
                </c:pt>
                <c:pt idx="1103">
                  <c:v>41684</c:v>
                </c:pt>
                <c:pt idx="1104">
                  <c:v>41687</c:v>
                </c:pt>
                <c:pt idx="1105">
                  <c:v>41688</c:v>
                </c:pt>
                <c:pt idx="1106">
                  <c:v>41689</c:v>
                </c:pt>
                <c:pt idx="1107">
                  <c:v>41690</c:v>
                </c:pt>
                <c:pt idx="1108">
                  <c:v>41691</c:v>
                </c:pt>
                <c:pt idx="1109">
                  <c:v>41694</c:v>
                </c:pt>
                <c:pt idx="1110">
                  <c:v>41695</c:v>
                </c:pt>
                <c:pt idx="1111">
                  <c:v>41696</c:v>
                </c:pt>
                <c:pt idx="1112">
                  <c:v>41697</c:v>
                </c:pt>
                <c:pt idx="1113">
                  <c:v>41698</c:v>
                </c:pt>
                <c:pt idx="1114">
                  <c:v>41701</c:v>
                </c:pt>
                <c:pt idx="1115">
                  <c:v>41702</c:v>
                </c:pt>
                <c:pt idx="1116">
                  <c:v>41703</c:v>
                </c:pt>
                <c:pt idx="1117">
                  <c:v>41704</c:v>
                </c:pt>
                <c:pt idx="1118">
                  <c:v>41705</c:v>
                </c:pt>
                <c:pt idx="1119">
                  <c:v>41708</c:v>
                </c:pt>
                <c:pt idx="1120">
                  <c:v>41709</c:v>
                </c:pt>
                <c:pt idx="1121">
                  <c:v>41710</c:v>
                </c:pt>
                <c:pt idx="1122">
                  <c:v>41711</c:v>
                </c:pt>
                <c:pt idx="1123">
                  <c:v>41712</c:v>
                </c:pt>
                <c:pt idx="1124">
                  <c:v>41715</c:v>
                </c:pt>
                <c:pt idx="1125">
                  <c:v>41716</c:v>
                </c:pt>
                <c:pt idx="1126">
                  <c:v>41717</c:v>
                </c:pt>
                <c:pt idx="1127">
                  <c:v>41718</c:v>
                </c:pt>
                <c:pt idx="1128">
                  <c:v>41719</c:v>
                </c:pt>
                <c:pt idx="1129">
                  <c:v>41722</c:v>
                </c:pt>
                <c:pt idx="1130">
                  <c:v>41723</c:v>
                </c:pt>
                <c:pt idx="1131">
                  <c:v>41724</c:v>
                </c:pt>
                <c:pt idx="1132">
                  <c:v>41725</c:v>
                </c:pt>
                <c:pt idx="1133">
                  <c:v>41726</c:v>
                </c:pt>
                <c:pt idx="1134">
                  <c:v>41729</c:v>
                </c:pt>
                <c:pt idx="1135">
                  <c:v>41730</c:v>
                </c:pt>
                <c:pt idx="1136">
                  <c:v>41731</c:v>
                </c:pt>
                <c:pt idx="1137">
                  <c:v>41732</c:v>
                </c:pt>
                <c:pt idx="1138">
                  <c:v>41733</c:v>
                </c:pt>
                <c:pt idx="1139">
                  <c:v>41736</c:v>
                </c:pt>
                <c:pt idx="1140">
                  <c:v>41737</c:v>
                </c:pt>
                <c:pt idx="1141">
                  <c:v>41738</c:v>
                </c:pt>
                <c:pt idx="1142">
                  <c:v>41739</c:v>
                </c:pt>
                <c:pt idx="1143">
                  <c:v>41740</c:v>
                </c:pt>
                <c:pt idx="1144">
                  <c:v>41743</c:v>
                </c:pt>
                <c:pt idx="1145">
                  <c:v>41744</c:v>
                </c:pt>
                <c:pt idx="1146">
                  <c:v>41745</c:v>
                </c:pt>
                <c:pt idx="1147">
                  <c:v>41746</c:v>
                </c:pt>
                <c:pt idx="1148">
                  <c:v>41751</c:v>
                </c:pt>
                <c:pt idx="1149">
                  <c:v>41752</c:v>
                </c:pt>
                <c:pt idx="1150">
                  <c:v>41753</c:v>
                </c:pt>
                <c:pt idx="1151">
                  <c:v>41754</c:v>
                </c:pt>
                <c:pt idx="1152">
                  <c:v>41757</c:v>
                </c:pt>
                <c:pt idx="1153">
                  <c:v>41758</c:v>
                </c:pt>
                <c:pt idx="1154">
                  <c:v>41759</c:v>
                </c:pt>
                <c:pt idx="1155">
                  <c:v>41760</c:v>
                </c:pt>
                <c:pt idx="1156">
                  <c:v>41761</c:v>
                </c:pt>
                <c:pt idx="1157">
                  <c:v>41764</c:v>
                </c:pt>
                <c:pt idx="1158">
                  <c:v>41765</c:v>
                </c:pt>
                <c:pt idx="1159">
                  <c:v>41766</c:v>
                </c:pt>
                <c:pt idx="1160">
                  <c:v>41767</c:v>
                </c:pt>
                <c:pt idx="1161">
                  <c:v>41768</c:v>
                </c:pt>
                <c:pt idx="1162">
                  <c:v>41771</c:v>
                </c:pt>
                <c:pt idx="1163">
                  <c:v>41772</c:v>
                </c:pt>
                <c:pt idx="1164">
                  <c:v>41773</c:v>
                </c:pt>
                <c:pt idx="1165">
                  <c:v>41774</c:v>
                </c:pt>
                <c:pt idx="1166">
                  <c:v>41775</c:v>
                </c:pt>
                <c:pt idx="1167">
                  <c:v>41778</c:v>
                </c:pt>
                <c:pt idx="1168">
                  <c:v>41779</c:v>
                </c:pt>
                <c:pt idx="1169">
                  <c:v>41780</c:v>
                </c:pt>
                <c:pt idx="1170">
                  <c:v>41781</c:v>
                </c:pt>
                <c:pt idx="1171">
                  <c:v>41782</c:v>
                </c:pt>
                <c:pt idx="1172">
                  <c:v>41785</c:v>
                </c:pt>
                <c:pt idx="1173">
                  <c:v>41786</c:v>
                </c:pt>
                <c:pt idx="1174">
                  <c:v>41787</c:v>
                </c:pt>
                <c:pt idx="1175">
                  <c:v>41788</c:v>
                </c:pt>
                <c:pt idx="1176">
                  <c:v>41789</c:v>
                </c:pt>
                <c:pt idx="1177">
                  <c:v>41792</c:v>
                </c:pt>
                <c:pt idx="1178">
                  <c:v>41793</c:v>
                </c:pt>
                <c:pt idx="1179">
                  <c:v>41794</c:v>
                </c:pt>
                <c:pt idx="1180">
                  <c:v>41795</c:v>
                </c:pt>
                <c:pt idx="1181">
                  <c:v>41796</c:v>
                </c:pt>
                <c:pt idx="1182">
                  <c:v>41799</c:v>
                </c:pt>
                <c:pt idx="1183">
                  <c:v>41800</c:v>
                </c:pt>
                <c:pt idx="1184">
                  <c:v>41801</c:v>
                </c:pt>
                <c:pt idx="1185">
                  <c:v>41802</c:v>
                </c:pt>
                <c:pt idx="1186">
                  <c:v>41803</c:v>
                </c:pt>
                <c:pt idx="1187">
                  <c:v>41806</c:v>
                </c:pt>
                <c:pt idx="1188">
                  <c:v>41807</c:v>
                </c:pt>
                <c:pt idx="1189">
                  <c:v>41808</c:v>
                </c:pt>
                <c:pt idx="1190">
                  <c:v>41809</c:v>
                </c:pt>
                <c:pt idx="1191">
                  <c:v>41810</c:v>
                </c:pt>
                <c:pt idx="1192">
                  <c:v>41813</c:v>
                </c:pt>
                <c:pt idx="1193">
                  <c:v>41814</c:v>
                </c:pt>
                <c:pt idx="1194">
                  <c:v>41815</c:v>
                </c:pt>
                <c:pt idx="1195">
                  <c:v>41816</c:v>
                </c:pt>
                <c:pt idx="1196">
                  <c:v>41817</c:v>
                </c:pt>
                <c:pt idx="1197">
                  <c:v>41820</c:v>
                </c:pt>
                <c:pt idx="1198">
                  <c:v>41821</c:v>
                </c:pt>
                <c:pt idx="1199">
                  <c:v>41822</c:v>
                </c:pt>
                <c:pt idx="1200">
                  <c:v>41823</c:v>
                </c:pt>
                <c:pt idx="1201">
                  <c:v>41824</c:v>
                </c:pt>
                <c:pt idx="1202">
                  <c:v>41827</c:v>
                </c:pt>
                <c:pt idx="1203">
                  <c:v>41828</c:v>
                </c:pt>
                <c:pt idx="1204">
                  <c:v>41829</c:v>
                </c:pt>
                <c:pt idx="1205">
                  <c:v>41830</c:v>
                </c:pt>
                <c:pt idx="1206">
                  <c:v>41831</c:v>
                </c:pt>
                <c:pt idx="1207">
                  <c:v>41834</c:v>
                </c:pt>
                <c:pt idx="1208">
                  <c:v>41835</c:v>
                </c:pt>
                <c:pt idx="1209">
                  <c:v>41836</c:v>
                </c:pt>
                <c:pt idx="1210">
                  <c:v>41837</c:v>
                </c:pt>
                <c:pt idx="1211">
                  <c:v>41838</c:v>
                </c:pt>
                <c:pt idx="1212">
                  <c:v>41841</c:v>
                </c:pt>
                <c:pt idx="1213">
                  <c:v>41842</c:v>
                </c:pt>
                <c:pt idx="1214">
                  <c:v>41843</c:v>
                </c:pt>
                <c:pt idx="1215">
                  <c:v>41844</c:v>
                </c:pt>
                <c:pt idx="1216">
                  <c:v>41845</c:v>
                </c:pt>
                <c:pt idx="1217">
                  <c:v>41848</c:v>
                </c:pt>
                <c:pt idx="1218">
                  <c:v>41849</c:v>
                </c:pt>
                <c:pt idx="1219">
                  <c:v>41850</c:v>
                </c:pt>
                <c:pt idx="1220">
                  <c:v>41851</c:v>
                </c:pt>
                <c:pt idx="1221">
                  <c:v>41852</c:v>
                </c:pt>
                <c:pt idx="1222">
                  <c:v>41855</c:v>
                </c:pt>
                <c:pt idx="1223">
                  <c:v>41856</c:v>
                </c:pt>
                <c:pt idx="1224">
                  <c:v>41857</c:v>
                </c:pt>
                <c:pt idx="1225">
                  <c:v>41858</c:v>
                </c:pt>
                <c:pt idx="1226">
                  <c:v>41859</c:v>
                </c:pt>
                <c:pt idx="1227">
                  <c:v>41862</c:v>
                </c:pt>
                <c:pt idx="1228">
                  <c:v>41863</c:v>
                </c:pt>
                <c:pt idx="1229">
                  <c:v>41864</c:v>
                </c:pt>
                <c:pt idx="1230">
                  <c:v>41865</c:v>
                </c:pt>
                <c:pt idx="1231">
                  <c:v>41866</c:v>
                </c:pt>
                <c:pt idx="1232">
                  <c:v>41869</c:v>
                </c:pt>
                <c:pt idx="1233">
                  <c:v>41870</c:v>
                </c:pt>
                <c:pt idx="1234">
                  <c:v>41871</c:v>
                </c:pt>
                <c:pt idx="1235">
                  <c:v>41872</c:v>
                </c:pt>
                <c:pt idx="1236">
                  <c:v>41873</c:v>
                </c:pt>
                <c:pt idx="1237">
                  <c:v>41876</c:v>
                </c:pt>
                <c:pt idx="1238">
                  <c:v>41877</c:v>
                </c:pt>
                <c:pt idx="1239">
                  <c:v>41878</c:v>
                </c:pt>
                <c:pt idx="1240">
                  <c:v>41879</c:v>
                </c:pt>
                <c:pt idx="1241">
                  <c:v>41880</c:v>
                </c:pt>
                <c:pt idx="1242">
                  <c:v>41883</c:v>
                </c:pt>
                <c:pt idx="1243">
                  <c:v>41884</c:v>
                </c:pt>
                <c:pt idx="1244">
                  <c:v>41885</c:v>
                </c:pt>
                <c:pt idx="1245">
                  <c:v>41886</c:v>
                </c:pt>
              </c:numCache>
            </c:numRef>
          </c:cat>
          <c:val>
            <c:numRef>
              <c:f>Sheet1!$D$2:$D$1247</c:f>
              <c:numCache>
                <c:formatCode>General</c:formatCode>
                <c:ptCount val="1246"/>
              </c:numCache>
            </c:numRef>
          </c:val>
          <c:smooth val="0"/>
        </c:ser>
        <c:dLbls>
          <c:showLegendKey val="0"/>
          <c:showVal val="0"/>
          <c:showCatName val="0"/>
          <c:showSerName val="0"/>
          <c:showPercent val="0"/>
          <c:showBubbleSize val="0"/>
        </c:dLbls>
        <c:marker val="1"/>
        <c:smooth val="0"/>
        <c:axId val="35930112"/>
        <c:axId val="35931648"/>
      </c:lineChart>
      <c:dateAx>
        <c:axId val="35930112"/>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35931648"/>
        <c:crosses val="autoZero"/>
        <c:auto val="1"/>
        <c:lblOffset val="100"/>
        <c:baseTimeUnit val="days"/>
      </c:dateAx>
      <c:valAx>
        <c:axId val="35931648"/>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35930112"/>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9</c:f>
              <c:strCache>
                <c:ptCount val="8"/>
                <c:pt idx="0">
                  <c:v>Health Care</c:v>
                </c:pt>
                <c:pt idx="1">
                  <c:v>Consumer Goods</c:v>
                </c:pt>
                <c:pt idx="2">
                  <c:v>Oil &amp; Gas</c:v>
                </c:pt>
                <c:pt idx="3">
                  <c:v>Telecommunications</c:v>
                </c:pt>
                <c:pt idx="4">
                  <c:v>Utilities</c:v>
                </c:pt>
                <c:pt idx="5">
                  <c:v>Consumer Services</c:v>
                </c:pt>
                <c:pt idx="6">
                  <c:v>Financials</c:v>
                </c:pt>
                <c:pt idx="7">
                  <c:v>Industrials</c:v>
                </c:pt>
              </c:strCache>
            </c:strRef>
          </c:cat>
          <c:val>
            <c:numRef>
              <c:f>Sheet1!$B$2:$B$9</c:f>
              <c:numCache>
                <c:formatCode>0.00%</c:formatCode>
                <c:ptCount val="8"/>
                <c:pt idx="0">
                  <c:v>4.2285400000000001E-2</c:v>
                </c:pt>
                <c:pt idx="1">
                  <c:v>5.1236799999999999E-2</c:v>
                </c:pt>
                <c:pt idx="2">
                  <c:v>5.5974999999999997E-2</c:v>
                </c:pt>
                <c:pt idx="3">
                  <c:v>0.1273021</c:v>
                </c:pt>
                <c:pt idx="4">
                  <c:v>0.16509810000000003</c:v>
                </c:pt>
                <c:pt idx="5">
                  <c:v>0.17785899999999999</c:v>
                </c:pt>
                <c:pt idx="6">
                  <c:v>0.17931459999999999</c:v>
                </c:pt>
                <c:pt idx="7">
                  <c:v>0.20092889999999999</c:v>
                </c:pt>
              </c:numCache>
            </c:numRef>
          </c:val>
        </c:ser>
        <c:dLbls>
          <c:showLegendKey val="0"/>
          <c:showVal val="0"/>
          <c:showCatName val="0"/>
          <c:showSerName val="0"/>
          <c:showPercent val="0"/>
          <c:showBubbleSize val="0"/>
        </c:dLbls>
        <c:gapWidth val="150"/>
        <c:axId val="35854592"/>
        <c:axId val="35876864"/>
      </c:barChart>
      <c:catAx>
        <c:axId val="35854592"/>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35876864"/>
        <c:crosses val="autoZero"/>
        <c:auto val="1"/>
        <c:lblAlgn val="ctr"/>
        <c:lblOffset val="100"/>
        <c:noMultiLvlLbl val="0"/>
      </c:catAx>
      <c:valAx>
        <c:axId val="35876864"/>
        <c:scaling>
          <c:orientation val="minMax"/>
        </c:scaling>
        <c:delete val="1"/>
        <c:axPos val="b"/>
        <c:numFmt formatCode="0.00%" sourceLinked="1"/>
        <c:majorTickMark val="out"/>
        <c:minorTickMark val="none"/>
        <c:tickLblPos val="nextTo"/>
        <c:crossAx val="35854592"/>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9</c:f>
              <c:strCache>
                <c:ptCount val="8"/>
                <c:pt idx="0">
                  <c:v>Sweden</c:v>
                </c:pt>
                <c:pt idx="1">
                  <c:v>Norway</c:v>
                </c:pt>
                <c:pt idx="2">
                  <c:v>Denmark</c:v>
                </c:pt>
                <c:pt idx="3">
                  <c:v>Belgium</c:v>
                </c:pt>
                <c:pt idx="4">
                  <c:v>Italy</c:v>
                </c:pt>
                <c:pt idx="5">
                  <c:v>France</c:v>
                </c:pt>
                <c:pt idx="6">
                  <c:v>Spain</c:v>
                </c:pt>
                <c:pt idx="7">
                  <c:v>Great Britain</c:v>
                </c:pt>
              </c:strCache>
            </c:strRef>
          </c:cat>
          <c:val>
            <c:numRef>
              <c:f>Sheet1!$B$2:$B$9</c:f>
              <c:numCache>
                <c:formatCode>0.00%</c:formatCode>
                <c:ptCount val="8"/>
                <c:pt idx="0">
                  <c:v>1.9711700000000002E-2</c:v>
                </c:pt>
                <c:pt idx="1">
                  <c:v>2.4608699999999997E-2</c:v>
                </c:pt>
                <c:pt idx="2">
                  <c:v>4.2285400000000001E-2</c:v>
                </c:pt>
                <c:pt idx="3">
                  <c:v>4.7634999999999997E-2</c:v>
                </c:pt>
                <c:pt idx="4">
                  <c:v>8.41253E-2</c:v>
                </c:pt>
                <c:pt idx="5">
                  <c:v>0.11670640000000002</c:v>
                </c:pt>
                <c:pt idx="6">
                  <c:v>0.16237400000000002</c:v>
                </c:pt>
                <c:pt idx="7">
                  <c:v>0.50255340000000004</c:v>
                </c:pt>
              </c:numCache>
            </c:numRef>
          </c:val>
        </c:ser>
        <c:dLbls>
          <c:showLegendKey val="0"/>
          <c:showVal val="0"/>
          <c:showCatName val="0"/>
          <c:showSerName val="0"/>
          <c:showPercent val="0"/>
          <c:showBubbleSize val="0"/>
        </c:dLbls>
        <c:gapWidth val="150"/>
        <c:axId val="36763520"/>
        <c:axId val="36765056"/>
      </c:barChart>
      <c:catAx>
        <c:axId val="36763520"/>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36765056"/>
        <c:crosses val="autoZero"/>
        <c:auto val="1"/>
        <c:lblAlgn val="ctr"/>
        <c:lblOffset val="100"/>
        <c:noMultiLvlLbl val="0"/>
      </c:catAx>
      <c:valAx>
        <c:axId val="36765056"/>
        <c:scaling>
          <c:orientation val="minMax"/>
        </c:scaling>
        <c:delete val="1"/>
        <c:axPos val="b"/>
        <c:numFmt formatCode="0.00%" sourceLinked="1"/>
        <c:majorTickMark val="out"/>
        <c:minorTickMark val="none"/>
        <c:tickLblPos val="nextTo"/>
        <c:crossAx val="36763520"/>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24.11.2014</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solidFill>
                  <a:prstClr val="black"/>
                </a:solidFill>
              </a:rPr>
              <a:pPr/>
              <a:t>3</a:t>
            </a:fld>
            <a:endParaRPr lang="de-DE" dirty="0" smtClean="0">
              <a:solidFill>
                <a:prstClr val="black"/>
              </a:solidFill>
            </a:endParaRPr>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0</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0</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88.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117" Type="http://schemas.openxmlformats.org/officeDocument/2006/relationships/tags" Target="../tags/tag122.xml"/><Relationship Id="rId299" Type="http://schemas.openxmlformats.org/officeDocument/2006/relationships/tags" Target="../tags/tag304.xml"/><Relationship Id="rId303" Type="http://schemas.openxmlformats.org/officeDocument/2006/relationships/tags" Target="../tags/tag308.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324" Type="http://schemas.openxmlformats.org/officeDocument/2006/relationships/tags" Target="../tags/tag329.xml"/><Relationship Id="rId345" Type="http://schemas.openxmlformats.org/officeDocument/2006/relationships/tags" Target="../tags/tag350.xml"/><Relationship Id="rId366" Type="http://schemas.openxmlformats.org/officeDocument/2006/relationships/tags" Target="../tags/tag371.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268" Type="http://schemas.openxmlformats.org/officeDocument/2006/relationships/tags" Target="../tags/tag273.xml"/><Relationship Id="rId289" Type="http://schemas.openxmlformats.org/officeDocument/2006/relationships/tags" Target="../tags/tag294.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314" Type="http://schemas.openxmlformats.org/officeDocument/2006/relationships/tags" Target="../tags/tag319.xml"/><Relationship Id="rId335" Type="http://schemas.openxmlformats.org/officeDocument/2006/relationships/tags" Target="../tags/tag340.xml"/><Relationship Id="rId356" Type="http://schemas.openxmlformats.org/officeDocument/2006/relationships/tags" Target="../tags/tag361.xml"/><Relationship Id="rId377" Type="http://schemas.openxmlformats.org/officeDocument/2006/relationships/tags" Target="../tags/tag382.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79" Type="http://schemas.openxmlformats.org/officeDocument/2006/relationships/tags" Target="../tags/tag284.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290" Type="http://schemas.openxmlformats.org/officeDocument/2006/relationships/tags" Target="../tags/tag295.xml"/><Relationship Id="rId304" Type="http://schemas.openxmlformats.org/officeDocument/2006/relationships/tags" Target="../tags/tag309.xml"/><Relationship Id="rId325" Type="http://schemas.openxmlformats.org/officeDocument/2006/relationships/tags" Target="../tags/tag330.xml"/><Relationship Id="rId346" Type="http://schemas.openxmlformats.org/officeDocument/2006/relationships/tags" Target="../tags/tag351.xml"/><Relationship Id="rId367" Type="http://schemas.openxmlformats.org/officeDocument/2006/relationships/tags" Target="../tags/tag372.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269" Type="http://schemas.openxmlformats.org/officeDocument/2006/relationships/tags" Target="../tags/tag274.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280" Type="http://schemas.openxmlformats.org/officeDocument/2006/relationships/tags" Target="../tags/tag285.xml"/><Relationship Id="rId315" Type="http://schemas.openxmlformats.org/officeDocument/2006/relationships/tags" Target="../tags/tag320.xml"/><Relationship Id="rId336" Type="http://schemas.openxmlformats.org/officeDocument/2006/relationships/tags" Target="../tags/tag341.xml"/><Relationship Id="rId357" Type="http://schemas.openxmlformats.org/officeDocument/2006/relationships/tags" Target="../tags/tag362.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378" Type="http://schemas.openxmlformats.org/officeDocument/2006/relationships/tags" Target="../tags/tag383.xml"/><Relationship Id="rId6" Type="http://schemas.openxmlformats.org/officeDocument/2006/relationships/tags" Target="../tags/tag11.xml"/><Relationship Id="rId238" Type="http://schemas.openxmlformats.org/officeDocument/2006/relationships/tags" Target="../tags/tag243.xml"/><Relationship Id="rId259" Type="http://schemas.openxmlformats.org/officeDocument/2006/relationships/tags" Target="../tags/tag264.xml"/><Relationship Id="rId23" Type="http://schemas.openxmlformats.org/officeDocument/2006/relationships/tags" Target="../tags/tag28.xml"/><Relationship Id="rId119" Type="http://schemas.openxmlformats.org/officeDocument/2006/relationships/tags" Target="../tags/tag124.xml"/><Relationship Id="rId270" Type="http://schemas.openxmlformats.org/officeDocument/2006/relationships/tags" Target="../tags/tag275.xml"/><Relationship Id="rId291" Type="http://schemas.openxmlformats.org/officeDocument/2006/relationships/tags" Target="../tags/tag296.xml"/><Relationship Id="rId305" Type="http://schemas.openxmlformats.org/officeDocument/2006/relationships/tags" Target="../tags/tag310.xml"/><Relationship Id="rId326" Type="http://schemas.openxmlformats.org/officeDocument/2006/relationships/tags" Target="../tags/tag331.xml"/><Relationship Id="rId347" Type="http://schemas.openxmlformats.org/officeDocument/2006/relationships/tags" Target="../tags/tag352.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368" Type="http://schemas.openxmlformats.org/officeDocument/2006/relationships/tags" Target="../tags/tag373.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tags" Target="../tags/tag233.xml"/><Relationship Id="rId249" Type="http://schemas.openxmlformats.org/officeDocument/2006/relationships/tags" Target="../tags/tag254.xml"/><Relationship Id="rId13" Type="http://schemas.openxmlformats.org/officeDocument/2006/relationships/tags" Target="../tags/tag18.xml"/><Relationship Id="rId109" Type="http://schemas.openxmlformats.org/officeDocument/2006/relationships/tags" Target="../tags/tag114.xml"/><Relationship Id="rId260" Type="http://schemas.openxmlformats.org/officeDocument/2006/relationships/tags" Target="../tags/tag265.xml"/><Relationship Id="rId281" Type="http://schemas.openxmlformats.org/officeDocument/2006/relationships/tags" Target="../tags/tag286.xml"/><Relationship Id="rId316" Type="http://schemas.openxmlformats.org/officeDocument/2006/relationships/tags" Target="../tags/tag321.xml"/><Relationship Id="rId337" Type="http://schemas.openxmlformats.org/officeDocument/2006/relationships/tags" Target="../tags/tag342.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358" Type="http://schemas.openxmlformats.org/officeDocument/2006/relationships/tags" Target="../tags/tag363.xml"/><Relationship Id="rId379" Type="http://schemas.openxmlformats.org/officeDocument/2006/relationships/tags" Target="../tags/tag384.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39" Type="http://schemas.openxmlformats.org/officeDocument/2006/relationships/tags" Target="../tags/tag244.xml"/><Relationship Id="rId250" Type="http://schemas.openxmlformats.org/officeDocument/2006/relationships/tags" Target="../tags/tag255.xml"/><Relationship Id="rId271" Type="http://schemas.openxmlformats.org/officeDocument/2006/relationships/tags" Target="../tags/tag276.xml"/><Relationship Id="rId292" Type="http://schemas.openxmlformats.org/officeDocument/2006/relationships/tags" Target="../tags/tag297.xml"/><Relationship Id="rId306" Type="http://schemas.openxmlformats.org/officeDocument/2006/relationships/tags" Target="../tags/tag31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327" Type="http://schemas.openxmlformats.org/officeDocument/2006/relationships/tags" Target="../tags/tag332.xml"/><Relationship Id="rId348" Type="http://schemas.openxmlformats.org/officeDocument/2006/relationships/tags" Target="../tags/tag353.xml"/><Relationship Id="rId369" Type="http://schemas.openxmlformats.org/officeDocument/2006/relationships/tags" Target="../tags/tag374.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tags" Target="../tags/tag234.xml"/><Relationship Id="rId380" Type="http://schemas.openxmlformats.org/officeDocument/2006/relationships/tags" Target="../tags/tag385.xml"/><Relationship Id="rId240" Type="http://schemas.openxmlformats.org/officeDocument/2006/relationships/tags" Target="../tags/tag245.xml"/><Relationship Id="rId261" Type="http://schemas.openxmlformats.org/officeDocument/2006/relationships/tags" Target="../tags/tag266.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282" Type="http://schemas.openxmlformats.org/officeDocument/2006/relationships/tags" Target="../tags/tag287.xml"/><Relationship Id="rId317" Type="http://schemas.openxmlformats.org/officeDocument/2006/relationships/tags" Target="../tags/tag322.xml"/><Relationship Id="rId338" Type="http://schemas.openxmlformats.org/officeDocument/2006/relationships/tags" Target="../tags/tag343.xml"/><Relationship Id="rId359" Type="http://schemas.openxmlformats.org/officeDocument/2006/relationships/tags" Target="../tags/tag364.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70" Type="http://schemas.openxmlformats.org/officeDocument/2006/relationships/tags" Target="../tags/tag375.xml"/><Relationship Id="rId230" Type="http://schemas.openxmlformats.org/officeDocument/2006/relationships/tags" Target="../tags/tag235.xml"/><Relationship Id="rId251" Type="http://schemas.openxmlformats.org/officeDocument/2006/relationships/tags" Target="../tags/tag256.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272" Type="http://schemas.openxmlformats.org/officeDocument/2006/relationships/tags" Target="../tags/tag277.xml"/><Relationship Id="rId293" Type="http://schemas.openxmlformats.org/officeDocument/2006/relationships/tags" Target="../tags/tag298.xml"/><Relationship Id="rId307" Type="http://schemas.openxmlformats.org/officeDocument/2006/relationships/tags" Target="../tags/tag312.xml"/><Relationship Id="rId328" Type="http://schemas.openxmlformats.org/officeDocument/2006/relationships/tags" Target="../tags/tag333.xml"/><Relationship Id="rId349" Type="http://schemas.openxmlformats.org/officeDocument/2006/relationships/tags" Target="../tags/tag354.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95" Type="http://schemas.openxmlformats.org/officeDocument/2006/relationships/tags" Target="../tags/tag200.xml"/><Relationship Id="rId209" Type="http://schemas.openxmlformats.org/officeDocument/2006/relationships/tags" Target="../tags/tag214.xml"/><Relationship Id="rId360" Type="http://schemas.openxmlformats.org/officeDocument/2006/relationships/tags" Target="../tags/tag365.xml"/><Relationship Id="rId381" Type="http://schemas.openxmlformats.org/officeDocument/2006/relationships/tags" Target="../tags/tag386.xml"/><Relationship Id="rId220" Type="http://schemas.openxmlformats.org/officeDocument/2006/relationships/tags" Target="../tags/tag225.xml"/><Relationship Id="rId241" Type="http://schemas.openxmlformats.org/officeDocument/2006/relationships/tags" Target="../tags/tag246.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262" Type="http://schemas.openxmlformats.org/officeDocument/2006/relationships/tags" Target="../tags/tag267.xml"/><Relationship Id="rId283" Type="http://schemas.openxmlformats.org/officeDocument/2006/relationships/tags" Target="../tags/tag288.xml"/><Relationship Id="rId318" Type="http://schemas.openxmlformats.org/officeDocument/2006/relationships/tags" Target="../tags/tag323.xml"/><Relationship Id="rId339" Type="http://schemas.openxmlformats.org/officeDocument/2006/relationships/tags" Target="../tags/tag344.xml"/><Relationship Id="rId78" Type="http://schemas.openxmlformats.org/officeDocument/2006/relationships/tags" Target="../tags/tag83.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64" Type="http://schemas.openxmlformats.org/officeDocument/2006/relationships/tags" Target="../tags/tag169.xml"/><Relationship Id="rId185" Type="http://schemas.openxmlformats.org/officeDocument/2006/relationships/tags" Target="../tags/tag190.xml"/><Relationship Id="rId350" Type="http://schemas.openxmlformats.org/officeDocument/2006/relationships/tags" Target="../tags/tag355.xml"/><Relationship Id="rId371" Type="http://schemas.openxmlformats.org/officeDocument/2006/relationships/tags" Target="../tags/tag376.xml"/><Relationship Id="rId9" Type="http://schemas.openxmlformats.org/officeDocument/2006/relationships/tags" Target="../tags/tag14.xml"/><Relationship Id="rId210" Type="http://schemas.openxmlformats.org/officeDocument/2006/relationships/tags" Target="../tags/tag215.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273" Type="http://schemas.openxmlformats.org/officeDocument/2006/relationships/tags" Target="../tags/tag278.xml"/><Relationship Id="rId294" Type="http://schemas.openxmlformats.org/officeDocument/2006/relationships/tags" Target="../tags/tag299.xml"/><Relationship Id="rId308" Type="http://schemas.openxmlformats.org/officeDocument/2006/relationships/tags" Target="../tags/tag313.xml"/><Relationship Id="rId329" Type="http://schemas.openxmlformats.org/officeDocument/2006/relationships/tags" Target="../tags/tag334.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340" Type="http://schemas.openxmlformats.org/officeDocument/2006/relationships/tags" Target="../tags/tag345.xml"/><Relationship Id="rId361" Type="http://schemas.openxmlformats.org/officeDocument/2006/relationships/tags" Target="../tags/tag366.xml"/><Relationship Id="rId196" Type="http://schemas.openxmlformats.org/officeDocument/2006/relationships/tags" Target="../tags/tag201.xml"/><Relationship Id="rId200" Type="http://schemas.openxmlformats.org/officeDocument/2006/relationships/tags" Target="../tags/tag205.xml"/><Relationship Id="rId382" Type="http://schemas.openxmlformats.org/officeDocument/2006/relationships/slideLayout" Target="../slideLayouts/slideLayout67.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263" Type="http://schemas.openxmlformats.org/officeDocument/2006/relationships/tags" Target="../tags/tag268.xml"/><Relationship Id="rId284" Type="http://schemas.openxmlformats.org/officeDocument/2006/relationships/tags" Target="../tags/tag289.xml"/><Relationship Id="rId319" Type="http://schemas.openxmlformats.org/officeDocument/2006/relationships/tags" Target="../tags/tag324.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330" Type="http://schemas.openxmlformats.org/officeDocument/2006/relationships/tags" Target="../tags/tag335.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351" Type="http://schemas.openxmlformats.org/officeDocument/2006/relationships/tags" Target="../tags/tag356.xml"/><Relationship Id="rId372" Type="http://schemas.openxmlformats.org/officeDocument/2006/relationships/tags" Target="../tags/tag377.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4" Type="http://schemas.openxmlformats.org/officeDocument/2006/relationships/tags" Target="../tags/tag279.xml"/><Relationship Id="rId295" Type="http://schemas.openxmlformats.org/officeDocument/2006/relationships/tags" Target="../tags/tag300.xml"/><Relationship Id="rId309" Type="http://schemas.openxmlformats.org/officeDocument/2006/relationships/tags" Target="../tags/tag314.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320" Type="http://schemas.openxmlformats.org/officeDocument/2006/relationships/tags" Target="../tags/tag325.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341" Type="http://schemas.openxmlformats.org/officeDocument/2006/relationships/tags" Target="../tags/tag346.xml"/><Relationship Id="rId362" Type="http://schemas.openxmlformats.org/officeDocument/2006/relationships/tags" Target="../tags/tag367.xml"/><Relationship Id="rId383" Type="http://schemas.openxmlformats.org/officeDocument/2006/relationships/notesSlide" Target="../notesSlides/notesSlide3.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264" Type="http://schemas.openxmlformats.org/officeDocument/2006/relationships/tags" Target="../tags/tag269.xml"/><Relationship Id="rId285" Type="http://schemas.openxmlformats.org/officeDocument/2006/relationships/tags" Target="../tags/tag290.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310" Type="http://schemas.openxmlformats.org/officeDocument/2006/relationships/tags" Target="../tags/tag315.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331" Type="http://schemas.openxmlformats.org/officeDocument/2006/relationships/tags" Target="../tags/tag336.xml"/><Relationship Id="rId352" Type="http://schemas.openxmlformats.org/officeDocument/2006/relationships/tags" Target="../tags/tag357.xml"/><Relationship Id="rId373" Type="http://schemas.openxmlformats.org/officeDocument/2006/relationships/tags" Target="../tags/tag378.xml"/><Relationship Id="rId1" Type="http://schemas.openxmlformats.org/officeDocument/2006/relationships/tags" Target="../tags/tag6.xml"/><Relationship Id="rId212" Type="http://schemas.openxmlformats.org/officeDocument/2006/relationships/tags" Target="../tags/tag217.xml"/><Relationship Id="rId233" Type="http://schemas.openxmlformats.org/officeDocument/2006/relationships/tags" Target="../tags/tag238.xml"/><Relationship Id="rId254" Type="http://schemas.openxmlformats.org/officeDocument/2006/relationships/tags" Target="../tags/tag259.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275" Type="http://schemas.openxmlformats.org/officeDocument/2006/relationships/tags" Target="../tags/tag280.xml"/><Relationship Id="rId296" Type="http://schemas.openxmlformats.org/officeDocument/2006/relationships/tags" Target="../tags/tag301.xml"/><Relationship Id="rId300" Type="http://schemas.openxmlformats.org/officeDocument/2006/relationships/tags" Target="../tags/tag305.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321" Type="http://schemas.openxmlformats.org/officeDocument/2006/relationships/tags" Target="../tags/tag326.xml"/><Relationship Id="rId342" Type="http://schemas.openxmlformats.org/officeDocument/2006/relationships/tags" Target="../tags/tag347.xml"/><Relationship Id="rId363" Type="http://schemas.openxmlformats.org/officeDocument/2006/relationships/tags" Target="../tags/tag368.xml"/><Relationship Id="rId202" Type="http://schemas.openxmlformats.org/officeDocument/2006/relationships/tags" Target="../tags/tag207.xml"/><Relationship Id="rId223" Type="http://schemas.openxmlformats.org/officeDocument/2006/relationships/tags" Target="../tags/tag228.xml"/><Relationship Id="rId244" Type="http://schemas.openxmlformats.org/officeDocument/2006/relationships/tags" Target="../tags/tag249.xml"/><Relationship Id="rId18" Type="http://schemas.openxmlformats.org/officeDocument/2006/relationships/tags" Target="../tags/tag23.xml"/><Relationship Id="rId39" Type="http://schemas.openxmlformats.org/officeDocument/2006/relationships/tags" Target="../tags/tag44.xml"/><Relationship Id="rId265" Type="http://schemas.openxmlformats.org/officeDocument/2006/relationships/tags" Target="../tags/tag270.xml"/><Relationship Id="rId286" Type="http://schemas.openxmlformats.org/officeDocument/2006/relationships/tags" Target="../tags/tag291.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311" Type="http://schemas.openxmlformats.org/officeDocument/2006/relationships/tags" Target="../tags/tag316.xml"/><Relationship Id="rId332" Type="http://schemas.openxmlformats.org/officeDocument/2006/relationships/tags" Target="../tags/tag337.xml"/><Relationship Id="rId353" Type="http://schemas.openxmlformats.org/officeDocument/2006/relationships/tags" Target="../tags/tag358.xml"/><Relationship Id="rId374" Type="http://schemas.openxmlformats.org/officeDocument/2006/relationships/tags" Target="../tags/tag379.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34" Type="http://schemas.openxmlformats.org/officeDocument/2006/relationships/tags" Target="../tags/tag239.xml"/><Relationship Id="rId2" Type="http://schemas.openxmlformats.org/officeDocument/2006/relationships/tags" Target="../tags/tag7.xml"/><Relationship Id="rId29" Type="http://schemas.openxmlformats.org/officeDocument/2006/relationships/tags" Target="../tags/tag34.xml"/><Relationship Id="rId255" Type="http://schemas.openxmlformats.org/officeDocument/2006/relationships/tags" Target="../tags/tag260.xml"/><Relationship Id="rId276" Type="http://schemas.openxmlformats.org/officeDocument/2006/relationships/tags" Target="../tags/tag281.xml"/><Relationship Id="rId297" Type="http://schemas.openxmlformats.org/officeDocument/2006/relationships/tags" Target="../tags/tag302.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301" Type="http://schemas.openxmlformats.org/officeDocument/2006/relationships/tags" Target="../tags/tag306.xml"/><Relationship Id="rId322" Type="http://schemas.openxmlformats.org/officeDocument/2006/relationships/tags" Target="../tags/tag327.xml"/><Relationship Id="rId343" Type="http://schemas.openxmlformats.org/officeDocument/2006/relationships/tags" Target="../tags/tag348.xml"/><Relationship Id="rId364" Type="http://schemas.openxmlformats.org/officeDocument/2006/relationships/tags" Target="../tags/tag369.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245" Type="http://schemas.openxmlformats.org/officeDocument/2006/relationships/tags" Target="../tags/tag250.xml"/><Relationship Id="rId266" Type="http://schemas.openxmlformats.org/officeDocument/2006/relationships/tags" Target="../tags/tag271.xml"/><Relationship Id="rId287" Type="http://schemas.openxmlformats.org/officeDocument/2006/relationships/tags" Target="../tags/tag29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312" Type="http://schemas.openxmlformats.org/officeDocument/2006/relationships/tags" Target="../tags/tag317.xml"/><Relationship Id="rId333" Type="http://schemas.openxmlformats.org/officeDocument/2006/relationships/tags" Target="../tags/tag338.xml"/><Relationship Id="rId354" Type="http://schemas.openxmlformats.org/officeDocument/2006/relationships/tags" Target="../tags/tag359.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75" Type="http://schemas.openxmlformats.org/officeDocument/2006/relationships/tags" Target="../tags/tag380.xml"/><Relationship Id="rId3" Type="http://schemas.openxmlformats.org/officeDocument/2006/relationships/tags" Target="../tags/tag8.xml"/><Relationship Id="rId214" Type="http://schemas.openxmlformats.org/officeDocument/2006/relationships/tags" Target="../tags/tag219.xml"/><Relationship Id="rId235" Type="http://schemas.openxmlformats.org/officeDocument/2006/relationships/tags" Target="../tags/tag240.xml"/><Relationship Id="rId256" Type="http://schemas.openxmlformats.org/officeDocument/2006/relationships/tags" Target="../tags/tag261.xml"/><Relationship Id="rId277" Type="http://schemas.openxmlformats.org/officeDocument/2006/relationships/tags" Target="../tags/tag282.xml"/><Relationship Id="rId298" Type="http://schemas.openxmlformats.org/officeDocument/2006/relationships/tags" Target="../tags/tag303.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302" Type="http://schemas.openxmlformats.org/officeDocument/2006/relationships/tags" Target="../tags/tag307.xml"/><Relationship Id="rId323" Type="http://schemas.openxmlformats.org/officeDocument/2006/relationships/tags" Target="../tags/tag328.xml"/><Relationship Id="rId344" Type="http://schemas.openxmlformats.org/officeDocument/2006/relationships/tags" Target="../tags/tag349.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179" Type="http://schemas.openxmlformats.org/officeDocument/2006/relationships/tags" Target="../tags/tag184.xml"/><Relationship Id="rId365" Type="http://schemas.openxmlformats.org/officeDocument/2006/relationships/tags" Target="../tags/tag370.xml"/><Relationship Id="rId190" Type="http://schemas.openxmlformats.org/officeDocument/2006/relationships/tags" Target="../tags/tag195.xml"/><Relationship Id="rId204" Type="http://schemas.openxmlformats.org/officeDocument/2006/relationships/tags" Target="../tags/tag209.xml"/><Relationship Id="rId225" Type="http://schemas.openxmlformats.org/officeDocument/2006/relationships/tags" Target="../tags/tag230.xml"/><Relationship Id="rId246" Type="http://schemas.openxmlformats.org/officeDocument/2006/relationships/tags" Target="../tags/tag251.xml"/><Relationship Id="rId267" Type="http://schemas.openxmlformats.org/officeDocument/2006/relationships/tags" Target="../tags/tag272.xml"/><Relationship Id="rId288" Type="http://schemas.openxmlformats.org/officeDocument/2006/relationships/tags" Target="../tags/tag293.xml"/><Relationship Id="rId106" Type="http://schemas.openxmlformats.org/officeDocument/2006/relationships/tags" Target="../tags/tag111.xml"/><Relationship Id="rId127" Type="http://schemas.openxmlformats.org/officeDocument/2006/relationships/tags" Target="../tags/tag132.xml"/><Relationship Id="rId313" Type="http://schemas.openxmlformats.org/officeDocument/2006/relationships/tags" Target="../tags/tag318.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94" Type="http://schemas.openxmlformats.org/officeDocument/2006/relationships/tags" Target="../tags/tag99.xml"/><Relationship Id="rId148" Type="http://schemas.openxmlformats.org/officeDocument/2006/relationships/tags" Target="../tags/tag153.xml"/><Relationship Id="rId169" Type="http://schemas.openxmlformats.org/officeDocument/2006/relationships/tags" Target="../tags/tag174.xml"/><Relationship Id="rId334" Type="http://schemas.openxmlformats.org/officeDocument/2006/relationships/tags" Target="../tags/tag339.xml"/><Relationship Id="rId355" Type="http://schemas.openxmlformats.org/officeDocument/2006/relationships/tags" Target="../tags/tag360.xml"/><Relationship Id="rId376" Type="http://schemas.openxmlformats.org/officeDocument/2006/relationships/tags" Target="../tags/tag381.xml"/><Relationship Id="rId4" Type="http://schemas.openxmlformats.org/officeDocument/2006/relationships/tags" Target="../tags/tag9.xml"/><Relationship Id="rId180" Type="http://schemas.openxmlformats.org/officeDocument/2006/relationships/tags" Target="../tags/tag18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78" Type="http://schemas.openxmlformats.org/officeDocument/2006/relationships/tags" Target="../tags/tag2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November, 2014</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EUROPE </a:t>
            </a:r>
            <a:r>
              <a:rPr lang="en-US" dirty="0" smtClean="0"/>
              <a:t>MAXIMUM DIVIDEND </a:t>
            </a:r>
            <a:r>
              <a:rPr lang="en-US" dirty="0"/>
              <a:t>4</a:t>
            </a:r>
            <a:r>
              <a:rPr lang="en-US" dirty="0" smtClean="0"/>
              <a:t>0 </a:t>
            </a:r>
            <a:r>
              <a:rPr lang="en-US" dirty="0" smtClean="0"/>
              <a:t>INDEX</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smtClean="0"/>
              <a:t>®</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3</a:t>
            </a:r>
          </a:p>
          <a:p>
            <a:r>
              <a:rPr lang="en-US" dirty="0" smtClean="0"/>
              <a:t>Methodology	Page </a:t>
            </a:r>
            <a:r>
              <a:rPr lang="en-US" dirty="0"/>
              <a:t>4</a:t>
            </a:r>
            <a:endParaRPr lang="en-US" dirty="0" smtClean="0"/>
          </a:p>
          <a:p>
            <a:r>
              <a:rPr lang="en-US" dirty="0" smtClean="0"/>
              <a:t>Risk and return overview	Page 5</a:t>
            </a:r>
            <a:endParaRPr lang="en-US" dirty="0"/>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7891" name="Rectangle 3"/>
          <p:cNvSpPr>
            <a:spLocks noChangeArrowheads="1"/>
          </p:cNvSpPr>
          <p:nvPr/>
        </p:nvSpPr>
        <p:spPr bwMode="auto">
          <a:xfrm>
            <a:off x="368300" y="3636076"/>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solidFill>
                  <a:prstClr val="black"/>
                </a:solidFill>
              </a:rPr>
              <a:t>Maximum </a:t>
            </a:r>
            <a:r>
              <a:rPr lang="en-US" sz="1600" dirty="0"/>
              <a:t>Dividend indices </a:t>
            </a:r>
            <a:r>
              <a:rPr lang="en-US" sz="1600" dirty="0" smtClean="0"/>
              <a:t>(Net Return) outperformed </a:t>
            </a:r>
            <a:r>
              <a:rPr lang="en-US" sz="1600" dirty="0"/>
              <a:t>the market during times of high volatility and market turmoil</a:t>
            </a:r>
            <a:endParaRPr lang="en-US" sz="1600" dirty="0" smtClean="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Considerations</a:t>
            </a:r>
            <a:endParaRPr lang="en-US" sz="1600" b="1" dirty="0">
              <a:solidFill>
                <a:prstClr val="white"/>
              </a:solidFill>
            </a:endParaRPr>
          </a:p>
        </p:txBody>
      </p:sp>
      <p:sp>
        <p:nvSpPr>
          <p:cNvPr id="37893" name="Rectangle 5"/>
          <p:cNvSpPr>
            <a:spLocks noChangeArrowheads="1"/>
          </p:cNvSpPr>
          <p:nvPr/>
        </p:nvSpPr>
        <p:spPr bwMode="auto">
          <a:xfrm>
            <a:off x="5167313" y="2217738"/>
            <a:ext cx="4359275" cy="116955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tabLst>
                <a:tab pos="193675" algn="l"/>
                <a:tab pos="1239838" algn="l"/>
              </a:tabLst>
            </a:pPr>
            <a:r>
              <a:rPr lang="en-US" sz="1600" dirty="0">
                <a:solidFill>
                  <a:srgbClr val="000000"/>
                </a:solidFill>
              </a:rPr>
              <a:t>Index aims to </a:t>
            </a:r>
            <a:r>
              <a:rPr lang="en-US" sz="1600" b="1" dirty="0">
                <a:solidFill>
                  <a:srgbClr val="000000"/>
                </a:solidFill>
              </a:rPr>
              <a:t>maximize</a:t>
            </a:r>
            <a:r>
              <a:rPr lang="en-US" sz="1600" dirty="0">
                <a:solidFill>
                  <a:srgbClr val="000000"/>
                </a:solidFill>
              </a:rPr>
              <a:t> performance as measured by </a:t>
            </a:r>
            <a:r>
              <a:rPr lang="en-US" sz="1600" b="1" dirty="0">
                <a:solidFill>
                  <a:srgbClr val="000000"/>
                </a:solidFill>
              </a:rPr>
              <a:t>dividend yields </a:t>
            </a:r>
            <a:r>
              <a:rPr lang="en-US" sz="1600" dirty="0">
                <a:solidFill>
                  <a:srgbClr val="000000"/>
                </a:solidFill>
              </a:rPr>
              <a:t>on a short-term basis because it tracks dividend paying companies from implementation period to implementation period</a:t>
            </a:r>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rgbClr val="FFFFFF"/>
                </a:solidFill>
              </a:rPr>
              <a:t>Approach</a:t>
            </a:r>
            <a:endParaRPr lang="en-US" sz="1600" b="1" dirty="0">
              <a:solidFill>
                <a:srgbClr val="FFFFFF"/>
              </a:solidFill>
            </a:endParaRP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solidFill>
                    <a:prstClr val="black"/>
                  </a:solidFill>
                </a:endParaRPr>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grpSp>
        </p:grpSp>
      </p:grpSp>
      <p:sp>
        <p:nvSpPr>
          <p:cNvPr id="15" name="Rectangle 3"/>
          <p:cNvSpPr>
            <a:spLocks noChangeArrowheads="1"/>
          </p:cNvSpPr>
          <p:nvPr/>
        </p:nvSpPr>
        <p:spPr bwMode="auto">
          <a:xfrm>
            <a:off x="368300" y="4778010"/>
            <a:ext cx="4357688" cy="46782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Dividend </a:t>
            </a:r>
            <a:r>
              <a:rPr lang="en-US" sz="1600" b="1" dirty="0" smtClean="0"/>
              <a:t>forecasts are publicly available </a:t>
            </a:r>
            <a:r>
              <a:rPr lang="en-US" sz="1600" dirty="0" smtClean="0"/>
              <a:t>and are reliable</a:t>
            </a:r>
            <a:endParaRPr lang="en-US" sz="1600" dirty="0"/>
          </a:p>
        </p:txBody>
      </p:sp>
      <p:sp>
        <p:nvSpPr>
          <p:cNvPr id="17" name="Rectangle 5"/>
          <p:cNvSpPr>
            <a:spLocks noChangeArrowheads="1"/>
          </p:cNvSpPr>
          <p:nvPr/>
        </p:nvSpPr>
        <p:spPr bwMode="auto">
          <a:xfrm>
            <a:off x="5167313" y="4778009"/>
            <a:ext cx="4359275" cy="93564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tabLst>
                <a:tab pos="193675" algn="l"/>
                <a:tab pos="1239838" algn="l"/>
              </a:tabLst>
            </a:pPr>
            <a:r>
              <a:rPr lang="en-US" sz="1600" dirty="0">
                <a:solidFill>
                  <a:srgbClr val="000000"/>
                </a:solidFill>
              </a:rPr>
              <a:t>Cap factor leads to sufficient </a:t>
            </a:r>
            <a:r>
              <a:rPr lang="en-US" sz="1600" b="1" dirty="0">
                <a:solidFill>
                  <a:srgbClr val="000000"/>
                </a:solidFill>
              </a:rPr>
              <a:t>diversification</a:t>
            </a:r>
            <a:r>
              <a:rPr lang="en-US" sz="1600" dirty="0">
                <a:solidFill>
                  <a:srgbClr val="000000"/>
                </a:solidFill>
              </a:rPr>
              <a:t> within the </a:t>
            </a:r>
            <a:r>
              <a:rPr lang="en-US" sz="1600" dirty="0" smtClean="0">
                <a:solidFill>
                  <a:srgbClr val="000000"/>
                </a:solidFill>
              </a:rPr>
              <a:t>indices and enables the indices to underlie financial products such as ETFs</a:t>
            </a:r>
            <a:endParaRPr lang="en-US" sz="1600" dirty="0">
              <a:solidFill>
                <a:srgbClr val="000000"/>
              </a:solidFill>
            </a:endParaRPr>
          </a:p>
          <a:p>
            <a:pPr marL="1587" lvl="1" defTabSz="955675">
              <a:lnSpc>
                <a:spcPct val="95000"/>
              </a:lnSpc>
              <a:buClr>
                <a:schemeClr val="accent1"/>
              </a:buClr>
              <a:tabLst>
                <a:tab pos="193675" algn="l"/>
                <a:tab pos="1239838" algn="l"/>
              </a:tabLst>
            </a:pPr>
            <a:endParaRPr lang="en-US" sz="1600" dirty="0"/>
          </a:p>
        </p:txBody>
      </p:sp>
      <p:sp>
        <p:nvSpPr>
          <p:cNvPr id="19" name="Rectangle 5"/>
          <p:cNvSpPr>
            <a:spLocks noChangeArrowheads="1"/>
          </p:cNvSpPr>
          <p:nvPr/>
        </p:nvSpPr>
        <p:spPr bwMode="auto">
          <a:xfrm>
            <a:off x="5167313" y="3634517"/>
            <a:ext cx="4359275"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tabLst>
                <a:tab pos="193675" algn="l"/>
                <a:tab pos="1239838" algn="l"/>
              </a:tabLst>
            </a:pPr>
            <a:r>
              <a:rPr lang="en-US" sz="1600" dirty="0">
                <a:solidFill>
                  <a:srgbClr val="000000"/>
                </a:solidFill>
              </a:rPr>
              <a:t>At cut-off date, all companies are selected that have a dividend ex date forecasted in the upcoming implementation period</a:t>
            </a:r>
          </a:p>
        </p:txBody>
      </p:sp>
      <p:sp>
        <p:nvSpPr>
          <p:cNvPr id="25" name="Rectangle 3"/>
          <p:cNvSpPr>
            <a:spLocks noChangeArrowheads="1"/>
          </p:cNvSpPr>
          <p:nvPr/>
        </p:nvSpPr>
        <p:spPr bwMode="auto">
          <a:xfrm>
            <a:off x="368300" y="2227793"/>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solidFill>
                  <a:prstClr val="black"/>
                </a:solidFill>
              </a:rPr>
              <a:t>Investor groups like pension </a:t>
            </a:r>
            <a:r>
              <a:rPr lang="en-US" sz="1600" dirty="0" smtClean="0">
                <a:solidFill>
                  <a:prstClr val="black"/>
                </a:solidFill>
              </a:rPr>
              <a:t>funds are interested in </a:t>
            </a:r>
            <a:r>
              <a:rPr lang="en-US" sz="1600" b="1" dirty="0" smtClean="0">
                <a:solidFill>
                  <a:prstClr val="black"/>
                </a:solidFill>
              </a:rPr>
              <a:t>stable income streams </a:t>
            </a:r>
            <a:r>
              <a:rPr lang="en-US" sz="1600" dirty="0" smtClean="0">
                <a:solidFill>
                  <a:prstClr val="black"/>
                </a:solidFill>
              </a:rPr>
              <a:t>without speculation on the movement of share price</a:t>
            </a:r>
            <a:endParaRPr lang="en-US" sz="1600" dirty="0"/>
          </a:p>
        </p:txBody>
      </p:sp>
      <p:sp>
        <p:nvSpPr>
          <p:cNvPr id="3" name="Text Placeholder 2"/>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31123789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17"/>
          <p:cNvSpPr>
            <a:spLocks noChangeArrowheads="1"/>
          </p:cNvSpPr>
          <p:nvPr/>
        </p:nvSpPr>
        <p:spPr bwMode="auto">
          <a:xfrm>
            <a:off x="6967062" y="1752601"/>
            <a:ext cx="2662713" cy="3663950"/>
          </a:xfrm>
          <a:prstGeom prst="rect">
            <a:avLst/>
          </a:prstGeom>
          <a:solidFill>
            <a:srgbClr val="D9D9D9"/>
          </a:solidFill>
          <a:ln w="9525" algn="ctr">
            <a:solidFill>
              <a:srgbClr val="D9D9D9"/>
            </a:solidFill>
            <a:round/>
            <a:headEnd/>
            <a:tailEnd/>
          </a:ln>
        </p:spPr>
        <p:txBody>
          <a:bodyPr wrap="none" lIns="72000" tIns="72000" rIns="72000" bIns="72000" anchor="t" anchorCtr="0"/>
          <a:lstStyle/>
          <a:p>
            <a:pPr>
              <a:lnSpc>
                <a:spcPct val="95000"/>
              </a:lnSpc>
              <a:spcBef>
                <a:spcPct val="0"/>
              </a:spcBef>
            </a:pPr>
            <a:r>
              <a:rPr lang="en-US" sz="1600" b="1" dirty="0"/>
              <a:t>Additional features</a:t>
            </a:r>
          </a:p>
          <a:p>
            <a:pPr>
              <a:lnSpc>
                <a:spcPct val="95000"/>
              </a:lnSpc>
              <a:spcBef>
                <a:spcPct val="0"/>
              </a:spcBef>
            </a:pPr>
            <a:endParaRPr lang="en-US" sz="1600" b="1" dirty="0" smtClean="0"/>
          </a:p>
          <a:p>
            <a:pPr>
              <a:lnSpc>
                <a:spcPct val="95000"/>
              </a:lnSpc>
              <a:spcBef>
                <a:spcPct val="0"/>
              </a:spcBef>
            </a:pPr>
            <a:endParaRPr lang="en-US" sz="1600" b="1" dirty="0"/>
          </a:p>
          <a:p>
            <a:pPr marL="190500" lvl="1" indent="-188913">
              <a:lnSpc>
                <a:spcPct val="95000"/>
              </a:lnSpc>
              <a:spcBef>
                <a:spcPct val="0"/>
              </a:spcBef>
              <a:buFont typeface="Arial" charset="0"/>
              <a:buChar char="»"/>
            </a:pPr>
            <a:r>
              <a:rPr lang="en-US" sz="1600" dirty="0"/>
              <a:t>Weighting</a:t>
            </a:r>
            <a:r>
              <a:rPr lang="en-US" sz="1600" dirty="0" smtClean="0"/>
              <a:t>: </a:t>
            </a:r>
            <a:r>
              <a:rPr lang="en-US" sz="1600" dirty="0" smtClean="0"/>
              <a:t>based on </a:t>
            </a:r>
          </a:p>
          <a:p>
            <a:pPr marL="1587" lvl="1">
              <a:lnSpc>
                <a:spcPct val="95000"/>
              </a:lnSpc>
              <a:spcBef>
                <a:spcPct val="0"/>
              </a:spcBef>
            </a:pPr>
            <a:r>
              <a:rPr lang="en-US" sz="1600" dirty="0" smtClean="0"/>
              <a:t>liquidity adjusted expected </a:t>
            </a:r>
          </a:p>
          <a:p>
            <a:pPr marL="1587" lvl="1">
              <a:lnSpc>
                <a:spcPct val="95000"/>
              </a:lnSpc>
              <a:spcBef>
                <a:spcPct val="0"/>
              </a:spcBef>
            </a:pPr>
            <a:r>
              <a:rPr lang="en-US" sz="1600" dirty="0"/>
              <a:t>g</a:t>
            </a:r>
            <a:r>
              <a:rPr lang="en-US" sz="1600" dirty="0" smtClean="0"/>
              <a:t>ross dividend yields</a:t>
            </a:r>
            <a:r>
              <a:rPr lang="en-US" sz="1600" dirty="0" smtClean="0"/>
              <a:t>.</a:t>
            </a:r>
            <a:endParaRPr lang="en-US" sz="1600" dirty="0" smtClean="0"/>
          </a:p>
          <a:p>
            <a:pPr marL="1587" lvl="1">
              <a:lnSpc>
                <a:spcPct val="95000"/>
              </a:lnSpc>
              <a:spcBef>
                <a:spcPct val="0"/>
              </a:spcBef>
            </a:pPr>
            <a:r>
              <a:rPr lang="en-US" sz="1600" dirty="0" smtClean="0"/>
              <a:t>Capping at </a:t>
            </a:r>
            <a:r>
              <a:rPr lang="en-US" sz="1600" dirty="0" smtClean="0"/>
              <a:t>10% </a:t>
            </a:r>
            <a:r>
              <a:rPr lang="en-US" sz="1600" dirty="0" smtClean="0"/>
              <a:t>applied </a:t>
            </a:r>
          </a:p>
          <a:p>
            <a:pPr marL="1587" lvl="1">
              <a:lnSpc>
                <a:spcPct val="95000"/>
              </a:lnSpc>
              <a:spcBef>
                <a:spcPct val="0"/>
              </a:spcBef>
            </a:pPr>
            <a:r>
              <a:rPr lang="en-US" sz="1600" dirty="0"/>
              <a:t>q</a:t>
            </a:r>
            <a:r>
              <a:rPr lang="en-US" sz="1600" dirty="0" smtClean="0"/>
              <a:t>uarterly.</a:t>
            </a:r>
            <a:endParaRPr lang="en-US" sz="1600" dirty="0" smtClean="0"/>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Review</a:t>
            </a:r>
            <a:r>
              <a:rPr lang="en-US" sz="1600" dirty="0" smtClean="0"/>
              <a:t>: </a:t>
            </a:r>
            <a:r>
              <a:rPr lang="en-US" sz="1600" dirty="0" smtClean="0"/>
              <a:t>quarterly in </a:t>
            </a:r>
            <a:endParaRPr lang="en-US" sz="1600" dirty="0" smtClean="0"/>
          </a:p>
          <a:p>
            <a:pPr marL="1587" lvl="1">
              <a:lnSpc>
                <a:spcPct val="95000"/>
              </a:lnSpc>
              <a:spcBef>
                <a:spcPct val="0"/>
              </a:spcBef>
            </a:pPr>
            <a:r>
              <a:rPr lang="en-US" sz="1600" dirty="0" smtClean="0"/>
              <a:t>March, June, September</a:t>
            </a:r>
          </a:p>
          <a:p>
            <a:pPr marL="1587" lvl="1">
              <a:lnSpc>
                <a:spcPct val="95000"/>
              </a:lnSpc>
              <a:spcBef>
                <a:spcPct val="0"/>
              </a:spcBef>
            </a:pPr>
            <a:r>
              <a:rPr lang="en-US" sz="1600" dirty="0"/>
              <a:t>a</a:t>
            </a:r>
            <a:r>
              <a:rPr lang="en-US" sz="1600" dirty="0" smtClean="0"/>
              <a:t>nd December</a:t>
            </a:r>
            <a:r>
              <a:rPr lang="en-US" sz="1600" dirty="0" smtClean="0"/>
              <a:t>.</a:t>
            </a:r>
            <a:endParaRPr lang="en-US" sz="1600" dirty="0" smtClean="0"/>
          </a:p>
          <a:p>
            <a:pPr marL="1587" lvl="1">
              <a:lnSpc>
                <a:spcPct val="95000"/>
              </a:lnSpc>
              <a:spcBef>
                <a:spcPct val="0"/>
              </a:spcBef>
            </a:pPr>
            <a:endParaRPr lang="en-US" sz="1600" dirty="0" smtClean="0"/>
          </a:p>
          <a:p>
            <a:pPr marL="1587" lvl="1">
              <a:lnSpc>
                <a:spcPct val="95000"/>
              </a:lnSpc>
              <a:spcBef>
                <a:spcPct val="0"/>
              </a:spcBef>
            </a:pPr>
            <a:endParaRPr lang="en-US" sz="1600" dirty="0" smtClean="0"/>
          </a:p>
        </p:txBody>
      </p:sp>
      <p:sp>
        <p:nvSpPr>
          <p:cNvPr id="82946" name="Rectangle 2"/>
          <p:cNvSpPr>
            <a:spLocks noGrp="1" noChangeArrowheads="1"/>
          </p:cNvSpPr>
          <p:nvPr>
            <p:ph type="title"/>
          </p:nvPr>
        </p:nvSpPr>
        <p:spPr/>
        <p:txBody>
          <a:bodyPr/>
          <a:lstStyle/>
          <a:p>
            <a:r>
              <a:rPr lang="de-CH" dirty="0" err="1" smtClean="0"/>
              <a:t>Methodology</a:t>
            </a:r>
            <a:r>
              <a:rPr lang="de-CH" dirty="0" smtClean="0"/>
              <a:t>: </a:t>
            </a:r>
            <a:r>
              <a:rPr lang="en-US" dirty="0"/>
              <a:t>Constituents are shifted on a quarterly basis to always select the top dividend-yielding companies</a:t>
            </a:r>
            <a:br>
              <a:rPr lang="en-US" dirty="0"/>
            </a:br>
            <a:endParaRPr lang="en-US" dirty="0" smtClean="0"/>
          </a:p>
        </p:txBody>
      </p:sp>
      <p:sp>
        <p:nvSpPr>
          <p:cNvPr id="2" name="Text Placeholder 1"/>
          <p:cNvSpPr>
            <a:spLocks noGrp="1"/>
          </p:cNvSpPr>
          <p:nvPr>
            <p:ph type="body" sz="quarter" idx="12"/>
          </p:nvPr>
        </p:nvSpPr>
        <p:spPr>
          <a:xfrm>
            <a:off x="1737360" y="6400800"/>
            <a:ext cx="7589520" cy="365760"/>
          </a:xfrm>
        </p:spPr>
        <p:txBody>
          <a:bodyPr/>
          <a:lstStyle/>
          <a:p>
            <a:pPr marL="0" indent="0">
              <a:buNone/>
            </a:pPr>
            <a:r>
              <a:rPr lang="en-US" dirty="0">
                <a:solidFill>
                  <a:schemeClr val="bg1">
                    <a:lumMod val="65000"/>
                  </a:schemeClr>
                </a:solidFill>
              </a:rPr>
              <a:t>1) The expected dividend yield is calculated on the basis of announced or expected dividends and the closing price at the time of ranking (January, April, July and October)</a:t>
            </a:r>
          </a:p>
          <a:p>
            <a:pPr marL="0" indent="0">
              <a:buNone/>
            </a:pPr>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31" name="Rectangle 6"/>
          <p:cNvSpPr>
            <a:spLocks noChangeArrowheads="1"/>
          </p:cNvSpPr>
          <p:nvPr/>
        </p:nvSpPr>
        <p:spPr bwMode="auto">
          <a:xfrm>
            <a:off x="3111515" y="2920773"/>
            <a:ext cx="3756009" cy="701731"/>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smtClean="0"/>
              <a:t>Free float Market cap &gt; EUR 1bn</a:t>
            </a:r>
            <a:endParaRPr lang="en-US" sz="1600" dirty="0" smtClean="0"/>
          </a:p>
          <a:p>
            <a:pPr marL="196850" lvl="1" indent="-195263" defTabSz="736600">
              <a:lnSpc>
                <a:spcPct val="95000"/>
              </a:lnSpc>
              <a:spcBef>
                <a:spcPct val="0"/>
              </a:spcBef>
              <a:buFont typeface="Arial" charset="0"/>
              <a:buChar char="»"/>
            </a:pPr>
            <a:r>
              <a:rPr lang="en-US" sz="1600" dirty="0" smtClean="0"/>
              <a:t>3 Month average daily traded value (ADTV) &gt; EUR 4 </a:t>
            </a:r>
            <a:r>
              <a:rPr lang="en-US" sz="1600" dirty="0" err="1" smtClean="0"/>
              <a:t>mn</a:t>
            </a:r>
            <a:endParaRPr lang="en-US" sz="1600" dirty="0" smtClean="0"/>
          </a:p>
        </p:txBody>
      </p:sp>
      <p:sp>
        <p:nvSpPr>
          <p:cNvPr id="32" name="Rectangle 6"/>
          <p:cNvSpPr>
            <a:spLocks noChangeArrowheads="1"/>
          </p:cNvSpPr>
          <p:nvPr/>
        </p:nvSpPr>
        <p:spPr bwMode="auto">
          <a:xfrm>
            <a:off x="3111516" y="2011395"/>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smtClean="0"/>
              <a:t>STOXX Europe </a:t>
            </a:r>
            <a:r>
              <a:rPr lang="en-US" sz="1600" b="0" dirty="0" smtClean="0"/>
              <a:t>600</a:t>
            </a:r>
            <a:endParaRPr lang="en-US" sz="1600" b="0" dirty="0"/>
          </a:p>
        </p:txBody>
      </p:sp>
      <p:sp>
        <p:nvSpPr>
          <p:cNvPr id="19" name="Flowchart: Merge 18"/>
          <p:cNvSpPr/>
          <p:nvPr/>
        </p:nvSpPr>
        <p:spPr bwMode="auto">
          <a:xfrm>
            <a:off x="295275" y="1752601"/>
            <a:ext cx="2816241" cy="3663950"/>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975762" y="2011395"/>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967671" y="291983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951343" y="397738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16" name="Rectangle 6"/>
          <p:cNvSpPr>
            <a:spLocks noChangeArrowheads="1"/>
          </p:cNvSpPr>
          <p:nvPr/>
        </p:nvSpPr>
        <p:spPr bwMode="auto">
          <a:xfrm>
            <a:off x="3065417" y="3977387"/>
            <a:ext cx="3657600" cy="935641"/>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smtClean="0"/>
              <a:t>Top 40 companies with </a:t>
            </a:r>
            <a:r>
              <a:rPr lang="en-US" sz="1600" dirty="0"/>
              <a:t>the highest liquidity adjusted expected </a:t>
            </a:r>
            <a:r>
              <a:rPr lang="en-US" sz="1600" dirty="0" smtClean="0"/>
              <a:t>gross dividend yield</a:t>
            </a:r>
            <a:r>
              <a:rPr lang="en-US" sz="1600" baseline="30000" dirty="0"/>
              <a:t>1</a:t>
            </a:r>
            <a:r>
              <a:rPr lang="en-US" sz="1600" baseline="30000" dirty="0" smtClean="0"/>
              <a:t>) </a:t>
            </a:r>
            <a:r>
              <a:rPr lang="en-US" sz="1600" dirty="0" smtClean="0"/>
              <a:t>within </a:t>
            </a:r>
            <a:r>
              <a:rPr lang="en-US" sz="1600" dirty="0"/>
              <a:t>the upcoming quarter</a:t>
            </a:r>
            <a:endParaRPr lang="en-US" sz="1600" b="0" dirty="0"/>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2594584175"/>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3741212986"/>
              </p:ext>
            </p:extLst>
          </p:nvPr>
        </p:nvGraphicFramePr>
        <p:xfrm>
          <a:off x="5167313" y="2225823"/>
          <a:ext cx="4357687" cy="3092377"/>
        </p:xfrm>
        <a:graphic>
          <a:graphicData uri="http://schemas.openxmlformats.org/drawingml/2006/table">
            <a:tbl>
              <a:tblPr>
                <a:tableStyleId>{616DA210-FB5B-4158-B5E0-FEB733F419BA}</a:tableStyleId>
              </a:tblPr>
              <a:tblGrid>
                <a:gridCol w="1957387"/>
                <a:gridCol w="1209675"/>
                <a:gridCol w="1190625"/>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a:t>
                      </a:r>
                      <a:r>
                        <a:rPr kumimoji="0" lang="en-US" sz="1000" b="1" i="0" u="none" strike="noStrike" kern="1200" cap="none" normalizeH="0" baseline="0" noProof="0" dirty="0" smtClean="0">
                          <a:ln>
                            <a:noFill/>
                          </a:ln>
                          <a:solidFill>
                            <a:schemeClr val="accent1"/>
                          </a:solidFill>
                          <a:effectLst/>
                          <a:latin typeface="Arial"/>
                          <a:ea typeface=""/>
                          <a:cs typeface=""/>
                        </a:rPr>
                        <a:t>Europe Maximum Dividend 4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Europe 6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0.9%</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6.7%</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9.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7.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5.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5.0%</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0.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2.0%</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2.1%</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5.6%</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9%</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6%</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5%</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2.4%</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4.0%</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1</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r>
              <a:rPr lang="en-US" sz="1600" dirty="0" smtClean="0">
                <a:solidFill>
                  <a:schemeClr val="bg1"/>
                </a:solidFill>
              </a:rPr>
              <a:t> </a:t>
            </a:r>
            <a:r>
              <a:rPr lang="en-US" sz="1600" b="1" dirty="0">
                <a:solidFill>
                  <a:schemeClr val="bg1"/>
                </a:solidFill>
              </a:rPr>
              <a:t>5</a:t>
            </a:r>
            <a:r>
              <a:rPr lang="en-US" sz="1600" b="1" dirty="0" smtClean="0">
                <a:solidFill>
                  <a:schemeClr val="bg1"/>
                </a:solidFill>
              </a:rPr>
              <a:t>y</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36" name="Text Box 150"/>
          <p:cNvSpPr txBox="1">
            <a:spLocks noChangeArrowheads="1"/>
          </p:cNvSpPr>
          <p:nvPr/>
        </p:nvSpPr>
        <p:spPr bwMode="auto">
          <a:xfrm>
            <a:off x="1737360" y="6400800"/>
            <a:ext cx="7680960" cy="438582"/>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a:t>
            </a:r>
            <a:r>
              <a:rPr lang="en-US" sz="1000" dirty="0" smtClean="0">
                <a:solidFill>
                  <a:schemeClr val="accent5"/>
                </a:solidFill>
              </a:rPr>
              <a:t> </a:t>
            </a:r>
            <a:r>
              <a:rPr lang="en-US" sz="1000" dirty="0" smtClean="0">
                <a:solidFill>
                  <a:srgbClr val="AFAFAF"/>
                </a:solidFill>
              </a:rPr>
              <a:t>as of Nov. 1, 2014. Annualized returns and annualized volatility (standard deviation) figures are used</a:t>
            </a:r>
          </a:p>
          <a:p>
            <a:pPr marL="164592" indent="-164592">
              <a:lnSpc>
                <a:spcPct val="95000"/>
              </a:lnSpc>
              <a:spcBef>
                <a:spcPct val="0"/>
              </a:spcBef>
              <a:buFont typeface="+mj-lt"/>
              <a:buAutoNum type="arabicParenR"/>
            </a:pPr>
            <a:r>
              <a:rPr lang="en-US" sz="1000" dirty="0">
                <a:solidFill>
                  <a:srgbClr val="AFAFAF"/>
                </a:solidFill>
              </a:rPr>
              <a:t>Computed for the period </a:t>
            </a:r>
            <a:r>
              <a:rPr lang="en-US" sz="1000" dirty="0" smtClean="0">
                <a:solidFill>
                  <a:srgbClr val="AFAFAF"/>
                </a:solidFill>
              </a:rPr>
              <a:t>Nov. 1, 2009 to Oct. 30, 2014</a:t>
            </a:r>
          </a:p>
          <a:p>
            <a:pPr marL="164592" lvl="0" indent="-164592">
              <a:lnSpc>
                <a:spcPct val="95000"/>
              </a:lnSpc>
              <a:spcBef>
                <a:spcPct val="0"/>
              </a:spcBef>
              <a:buFont typeface="+mj-lt"/>
              <a:buAutoNum type="arabicParenR"/>
            </a:pPr>
            <a:r>
              <a:rPr lang="en-US" sz="1000" dirty="0" smtClean="0">
                <a:solidFill>
                  <a:srgbClr val="AFAFAF"/>
                </a:solidFill>
              </a:rPr>
              <a:t>EONIA rate used as riskless asset to calculate Sharpe ratio</a:t>
            </a:r>
            <a:endParaRPr lang="en-US" sz="1000" b="1" dirty="0" smtClean="0">
              <a:solidFill>
                <a:schemeClr val="accent5"/>
              </a:solidFill>
            </a:endParaRPr>
          </a:p>
        </p:txBody>
      </p:sp>
      <p:sp>
        <p:nvSpPr>
          <p:cNvPr id="8" name="Rectangle 6"/>
          <p:cNvSpPr>
            <a:spLocks noChangeArrowheads="1"/>
          </p:cNvSpPr>
          <p:nvPr/>
        </p:nvSpPr>
        <p:spPr bwMode="auto">
          <a:xfrm>
            <a:off x="6937648"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STOXX Europe 600 (EUR </a:t>
            </a:r>
            <a:r>
              <a:rPr lang="en-US" sz="1000" dirty="0" smtClean="0"/>
              <a:t>Gross Return</a:t>
            </a:r>
            <a:r>
              <a:rPr lang="en-US" sz="1000" dirty="0" smtClean="0"/>
              <a:t>)</a:t>
            </a:r>
            <a:endParaRPr lang="en-US" sz="1000" dirty="0"/>
          </a:p>
        </p:txBody>
      </p:sp>
      <p:sp>
        <p:nvSpPr>
          <p:cNvPr id="9"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STOXX Europe </a:t>
            </a:r>
            <a:r>
              <a:rPr lang="en-US" sz="1000" dirty="0" smtClean="0"/>
              <a:t>Maximum Dividend 40 (EUR Gross Return</a:t>
            </a:r>
            <a:r>
              <a:rPr lang="en-US" sz="1000" dirty="0" smtClean="0"/>
              <a:t>)</a:t>
            </a:r>
            <a:endParaRPr lang="en-US" sz="1000" dirty="0"/>
          </a:p>
        </p:txBody>
      </p:sp>
    </p:spTree>
    <p:extLst>
      <p:ext uri="{BB962C8B-B14F-4D97-AF65-F5344CB8AC3E}">
        <p14:creationId xmlns:p14="http://schemas.microsoft.com/office/powerpoint/2010/main" val="28494563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4" name="Text Placeholder 3"/>
          <p:cNvSpPr>
            <a:spLocks noGrp="1"/>
          </p:cNvSpPr>
          <p:nvPr>
            <p:ph type="body" sz="quarter" idx="12"/>
          </p:nvPr>
        </p:nvSpPr>
        <p:spPr>
          <a:xfrm>
            <a:off x="1732618" y="6396877"/>
            <a:ext cx="7382045" cy="318247"/>
          </a:xfrm>
        </p:spPr>
        <p:txBody>
          <a:bodyPr/>
          <a:lstStyle/>
          <a:p>
            <a:pPr lvl="0"/>
            <a:r>
              <a:rPr lang="en-US" dirty="0"/>
              <a:t>STOXX</a:t>
            </a:r>
            <a:r>
              <a:rPr lang="en-US" dirty="0">
                <a:solidFill>
                  <a:srgbClr val="AFAFAF"/>
                </a:solidFill>
              </a:rPr>
              <a:t> data as of </a:t>
            </a:r>
            <a:r>
              <a:rPr lang="en-US" dirty="0" smtClean="0">
                <a:solidFill>
                  <a:srgbClr val="AFAFAF"/>
                </a:solidFill>
              </a:rPr>
              <a:t>Nov. 1, 2014 (2) </a:t>
            </a:r>
            <a:r>
              <a:rPr lang="en-US" dirty="0" smtClean="0">
                <a:solidFill>
                  <a:srgbClr val="AFAFAF"/>
                </a:solidFill>
              </a:rPr>
              <a:t>Gross dividend </a:t>
            </a:r>
            <a:r>
              <a:rPr lang="en-US" dirty="0">
                <a:solidFill>
                  <a:srgbClr val="AFAFAF"/>
                </a:solidFill>
              </a:rPr>
              <a:t>yield is </a:t>
            </a:r>
            <a:r>
              <a:rPr lang="en-US" dirty="0" smtClean="0">
                <a:solidFill>
                  <a:srgbClr val="AFAFAF"/>
                </a:solidFill>
              </a:rPr>
              <a:t>calculated as </a:t>
            </a:r>
            <a:r>
              <a:rPr lang="en-US" dirty="0" smtClean="0">
                <a:solidFill>
                  <a:srgbClr val="AFAFAF"/>
                </a:solidFill>
              </a:rPr>
              <a:t>Gros</a:t>
            </a:r>
            <a:r>
              <a:rPr lang="en-US" dirty="0" smtClean="0">
                <a:solidFill>
                  <a:srgbClr val="AFAFAF"/>
                </a:solidFill>
              </a:rPr>
              <a:t>s </a:t>
            </a:r>
            <a:r>
              <a:rPr lang="en-US" dirty="0" smtClean="0">
                <a:solidFill>
                  <a:srgbClr val="AFAFAF"/>
                </a:solidFill>
              </a:rPr>
              <a:t>Return </a:t>
            </a:r>
            <a:r>
              <a:rPr lang="en-US" dirty="0" smtClean="0">
                <a:solidFill>
                  <a:srgbClr val="AFAFAF"/>
                </a:solidFill>
              </a:rPr>
              <a:t>index return minus Price index return over 1 year period</a:t>
            </a:r>
            <a:r>
              <a:rPr lang="en-US" dirty="0">
                <a:solidFill>
                  <a:srgbClr val="AFAFAF"/>
                </a:solidFill>
              </a:rPr>
              <a:t> </a:t>
            </a:r>
            <a:r>
              <a:rPr lang="en-US" dirty="0" smtClean="0">
                <a:solidFill>
                  <a:srgbClr val="AFAFAF"/>
                </a:solidFill>
              </a:rPr>
              <a:t>(3) Including negative values. Trailing and projection period are 1 year. (4) Turnover over 1 year period </a:t>
            </a:r>
          </a:p>
          <a:p>
            <a:endParaRPr lang="en-GB" dirty="0"/>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673173353"/>
              </p:ext>
            </p:extLst>
          </p:nvPr>
        </p:nvGraphicFramePr>
        <p:xfrm>
          <a:off x="5156834" y="2225820"/>
          <a:ext cx="4357687" cy="1135131"/>
        </p:xfrm>
        <a:graphic>
          <a:graphicData uri="http://schemas.openxmlformats.org/drawingml/2006/table">
            <a:tbl>
              <a:tblPr>
                <a:tableStyleId>{616DA210-FB5B-4158-B5E0-FEB733F419BA}</a:tableStyleId>
              </a:tblPr>
              <a:tblGrid>
                <a:gridCol w="1967866"/>
                <a:gridCol w="1219200"/>
                <a:gridCol w="117062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Europe Maximum Dividend 4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Europe 6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4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60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78.51%</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94%</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Rectangle 2"/>
          <p:cNvSpPr>
            <a:spLocks noChangeArrowheads="1"/>
          </p:cNvSpPr>
          <p:nvPr/>
        </p:nvSpPr>
        <p:spPr bwMode="auto">
          <a:xfrm>
            <a:off x="51663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graphicFrame>
        <p:nvGraphicFramePr>
          <p:cNvPr id="17" name="Group 62"/>
          <p:cNvGraphicFramePr>
            <a:graphicFrameLocks noGrp="1"/>
          </p:cNvGraphicFramePr>
          <p:nvPr>
            <p:custDataLst>
              <p:tags r:id="rId2"/>
            </p:custDataLst>
            <p:extLst>
              <p:ext uri="{D42A27DB-BD31-4B8C-83A1-F6EECF244321}">
                <p14:modId xmlns:p14="http://schemas.microsoft.com/office/powerpoint/2010/main" val="2313072179"/>
              </p:ext>
            </p:extLst>
          </p:nvPr>
        </p:nvGraphicFramePr>
        <p:xfrm>
          <a:off x="5171997" y="3597205"/>
          <a:ext cx="4331954" cy="1477695"/>
        </p:xfrm>
        <a:graphic>
          <a:graphicData uri="http://schemas.openxmlformats.org/drawingml/2006/table">
            <a:tbl>
              <a:tblPr>
                <a:tableStyleId>{616DA210-FB5B-4158-B5E0-FEB733F419BA}</a:tableStyleId>
              </a:tblPr>
              <a:tblGrid>
                <a:gridCol w="3174273"/>
                <a:gridCol w="115768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vs </a:t>
                      </a:r>
                    </a:p>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Europe 6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9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graphicFrame>
        <p:nvGraphicFramePr>
          <p:cNvPr id="16" name="Group 62"/>
          <p:cNvGraphicFramePr>
            <a:graphicFrameLocks noGrp="1"/>
          </p:cNvGraphicFramePr>
          <p:nvPr>
            <p:custDataLst>
              <p:tags r:id="rId3"/>
            </p:custDataLst>
            <p:extLst>
              <p:ext uri="{D42A27DB-BD31-4B8C-83A1-F6EECF244321}">
                <p14:modId xmlns:p14="http://schemas.microsoft.com/office/powerpoint/2010/main" val="3141940023"/>
              </p:ext>
            </p:extLst>
          </p:nvPr>
        </p:nvGraphicFramePr>
        <p:xfrm>
          <a:off x="365760" y="2225820"/>
          <a:ext cx="4358640" cy="2505387"/>
        </p:xfrm>
        <a:graphic>
          <a:graphicData uri="http://schemas.openxmlformats.org/drawingml/2006/table">
            <a:tbl>
              <a:tblPr>
                <a:tableStyleId>{616DA210-FB5B-4158-B5E0-FEB733F419BA}</a:tableStyleId>
              </a:tblPr>
              <a:tblGrid>
                <a:gridCol w="1863090"/>
                <a:gridCol w="1228725"/>
                <a:gridCol w="1266825"/>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STOXX Europe Maximum Dividend 4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STOXX Europe 600</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Gross </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dividend </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2.4%</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2.6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7.2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4.0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0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8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78</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8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7.3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8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Rectangle 6"/>
          <p:cNvSpPr>
            <a:spLocks noChangeArrowheads="1"/>
          </p:cNvSpPr>
          <p:nvPr/>
        </p:nvSpPr>
        <p:spPr bwMode="auto">
          <a:xfrm>
            <a:off x="6937648"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STOXX Europe 600 (EUR </a:t>
            </a:r>
            <a:r>
              <a:rPr lang="en-US" sz="1000" dirty="0" smtClean="0"/>
              <a:t>Gross Return</a:t>
            </a:r>
            <a:r>
              <a:rPr lang="en-US" sz="1000" dirty="0" smtClean="0"/>
              <a:t>)</a:t>
            </a:r>
            <a:endParaRPr lang="en-US" sz="1000" dirty="0"/>
          </a:p>
        </p:txBody>
      </p:sp>
      <p:sp>
        <p:nvSpPr>
          <p:cNvPr id="13"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a:t>STOXX Europe Maximum Dividend 40 (EUR Gross Return</a:t>
            </a:r>
            <a:r>
              <a:rPr lang="en-US" sz="1000" dirty="0" smtClean="0"/>
              <a:t>)</a:t>
            </a:r>
            <a:endParaRPr lang="en-US" sz="1000" dirty="0"/>
          </a:p>
        </p:txBody>
      </p:sp>
    </p:spTree>
    <p:extLst>
      <p:ext uri="{BB962C8B-B14F-4D97-AF65-F5344CB8AC3E}">
        <p14:creationId xmlns:p14="http://schemas.microsoft.com/office/powerpoint/2010/main" val="1468242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1 November 2014</a:t>
            </a:r>
          </a:p>
        </p:txBody>
      </p:sp>
      <p:sp>
        <p:nvSpPr>
          <p:cNvPr id="10" name="Title 1"/>
          <p:cNvSpPr>
            <a:spLocks noGrp="1"/>
          </p:cNvSpPr>
          <p:nvPr>
            <p:ph type="title"/>
          </p:nvPr>
        </p:nvSpPr>
        <p:spPr/>
        <p:txBody>
          <a:bodyPr/>
          <a:lstStyle/>
          <a:p>
            <a:r>
              <a:rPr lang="en-US" dirty="0" smtClean="0"/>
              <a:t>Industry and country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3383480004"/>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316848328"/>
              </p:ext>
            </p:extLst>
          </p:nvPr>
        </p:nvGraphicFramePr>
        <p:xfrm>
          <a:off x="4953794" y="2222778"/>
          <a:ext cx="4526107" cy="38417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455380710"/>
              </p:ext>
            </p:extLst>
          </p:nvPr>
        </p:nvGraphicFramePr>
        <p:xfrm>
          <a:off x="542611" y="1876839"/>
          <a:ext cx="8784269" cy="3996311"/>
        </p:xfrm>
        <a:graphic>
          <a:graphicData uri="http://schemas.openxmlformats.org/drawingml/2006/table">
            <a:tbl>
              <a:tblPr>
                <a:tableStyleId>{616DA210-FB5B-4158-B5E0-FEB733F419BA}</a:tableStyleId>
              </a:tblPr>
              <a:tblGrid>
                <a:gridCol w="2761067"/>
                <a:gridCol w="2279674"/>
                <a:gridCol w="1735792"/>
                <a:gridCol w="2007736"/>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Indus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err="1" smtClean="0">
                          <a:ln>
                            <a:noFill/>
                          </a:ln>
                          <a:effectLst/>
                          <a:latin typeface="Arial" panose="020B0604020202020204" pitchFamily="34" charset="0"/>
                          <a:cs typeface="Arial" panose="020B0604020202020204" pitchFamily="34" charset="0"/>
                        </a:rPr>
                        <a:t>Eutelsat</a:t>
                      </a: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 Communication</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dirty="0">
                          <a:ln>
                            <a:noFill/>
                          </a:ln>
                          <a:solidFill>
                            <a:schemeClr val="tx1"/>
                          </a:solidFill>
                          <a:effectLst/>
                          <a:latin typeface="Arial" panose="020B0604020202020204" pitchFamily="34" charset="0"/>
                          <a:ea typeface=""/>
                          <a:cs typeface="Arial" panose="020B0604020202020204" pitchFamily="34" charset="0"/>
                        </a:rPr>
                        <a:t>Consumer Servic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FR</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3.95%</a:t>
                      </a:r>
                      <a:endPar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elefonica</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elecommunication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3.46%</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Aberdeen Asset Management</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GB</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3.29%</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DS Smith</a:t>
                      </a:r>
                      <a:endPar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dustr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GB</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3.27%</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Mediobanca</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inanc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I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3.2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ritish Sky Broadcasting</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Consumer Servic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GB</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3.17%</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ENI</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Oil &amp; Ga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3.14%</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Ferrovial</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Industrial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3.12%</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GDF Suez</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3.03%</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0" i="0" u="none" strike="noStrike" kern="1200" cap="none" normalizeH="0" baseline="0" noProof="0" dirty="0" err="1" smtClean="0">
                          <a:ln>
                            <a:noFill/>
                          </a:ln>
                          <a:solidFill>
                            <a:schemeClr val="tx1"/>
                          </a:solidFill>
                          <a:effectLst/>
                          <a:latin typeface="Arial" panose="020B0604020202020204" pitchFamily="34" charset="0"/>
                          <a:ea typeface="+mn-ea"/>
                          <a:cs typeface="Arial" panose="020B0604020202020204" pitchFamily="34" charset="0"/>
                        </a:rPr>
                        <a:t>Belgacom</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elecommunication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kumimoji="0" lang="en-US" sz="14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2.71%</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1 November 2014</a:t>
            </a:r>
            <a:endParaRPr lang="en-US" sz="1000" dirty="0">
              <a:solidFill>
                <a:srgbClr val="D80F5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Head </a:t>
            </a:r>
            <a:r>
              <a:rPr lang="de-CH" sz="1200" dirty="0" err="1" smtClean="0">
                <a:solidFill>
                  <a:prstClr val="black"/>
                </a:solidFill>
                <a:ea typeface="ＭＳ Ｐゴシック" pitchFamily="34" charset="-128"/>
              </a:rPr>
              <a:t>of</a:t>
            </a:r>
            <a:r>
              <a:rPr lang="de-CH" sz="1200" dirty="0" smtClean="0">
                <a:solidFill>
                  <a:prstClr val="black"/>
                </a:solidFill>
                <a:ea typeface="ＭＳ Ｐゴシック" pitchFamily="34" charset="-128"/>
              </a:rPr>
              <a:t> </a:t>
            </a:r>
            <a:r>
              <a:rPr lang="de-CH" sz="1200" dirty="0" err="1" smtClean="0">
                <a:solidFill>
                  <a:prstClr val="black"/>
                </a:solidFill>
                <a:ea typeface="ＭＳ Ｐゴシック" pitchFamily="34" charset="-128"/>
              </a:rPr>
              <a:t>Sales</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81173A75-1819-435D-8F17-530888721284}"/>
</file>

<file path=customXml/itemProps2.xml><?xml version="1.0" encoding="utf-8"?>
<ds:datastoreItem xmlns:ds="http://schemas.openxmlformats.org/officeDocument/2006/customXml" ds:itemID="{A01FD1BB-BCC6-4625-895F-3CEFC7F4F3CF}"/>
</file>

<file path=customXml/itemProps3.xml><?xml version="1.0" encoding="utf-8"?>
<ds:datastoreItem xmlns:ds="http://schemas.openxmlformats.org/officeDocument/2006/customXml" ds:itemID="{BA11A177-B50F-4D3F-A65E-956C7298250C}"/>
</file>

<file path=docProps/app.xml><?xml version="1.0" encoding="utf-8"?>
<Properties xmlns="http://schemas.openxmlformats.org/officeDocument/2006/extended-properties" xmlns:vt="http://schemas.openxmlformats.org/officeDocument/2006/docPropsVTypes">
  <Template>STOXXPresentations2.0</Template>
  <TotalTime>0</TotalTime>
  <Words>1113</Words>
  <Application>Microsoft Office PowerPoint</Application>
  <PresentationFormat>A4 Paper (210x297 mm)</PresentationFormat>
  <Paragraphs>206</Paragraphs>
  <Slides>10</Slides>
  <Notes>4</Notes>
  <HiddenSlides>0</HiddenSlides>
  <MMClips>0</MMClips>
  <ScaleCrop>false</ScaleCrop>
  <HeadingPairs>
    <vt:vector size="4" baseType="variant">
      <vt:variant>
        <vt:lpstr>Theme</vt:lpstr>
      </vt:variant>
      <vt:variant>
        <vt:i4>3</vt:i4>
      </vt:variant>
      <vt:variant>
        <vt:lpstr>Slide Titles</vt:lpstr>
      </vt:variant>
      <vt:variant>
        <vt:i4>10</vt:i4>
      </vt:variant>
    </vt:vector>
  </HeadingPairs>
  <TitlesOfParts>
    <vt:vector size="13" baseType="lpstr">
      <vt:lpstr>STOXXEmbeddedTheme</vt:lpstr>
      <vt:lpstr>Template STOXX Presentations 2.0.</vt:lpstr>
      <vt:lpstr>STOXX_ESG_ProductSlides</vt:lpstr>
      <vt:lpstr>STOXX®  EUROPE MAXIMUM DIVIDEND 40 INDEX </vt:lpstr>
      <vt:lpstr>Agenda</vt:lpstr>
      <vt:lpstr>Investment case</vt:lpstr>
      <vt:lpstr>Methodology: Constituents are shifted on a quarterly basis to always select the top dividend-yielding companies </vt:lpstr>
      <vt:lpstr>Risk and return overview</vt:lpstr>
      <vt:lpstr>Index fundamental characteristics and key figures</vt:lpstr>
      <vt:lpstr>Industry and country allocation</vt:lpstr>
      <vt:lpstr>Top 10 components by weight</vt:lpstr>
      <vt:lpstr>STOXX sales contact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245</cp:revision>
  <dcterms:created xsi:type="dcterms:W3CDTF">2014-05-26T13:36:56Z</dcterms:created>
  <dcterms:modified xsi:type="dcterms:W3CDTF">2014-11-25T10:0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